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3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4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5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14" r:id="rId4"/>
    <p:sldMasterId id="2147484311" r:id="rId5"/>
    <p:sldMasterId id="2147483648" r:id="rId6"/>
    <p:sldMasterId id="2147485002" r:id="rId7"/>
    <p:sldMasterId id="2147485007" r:id="rId8"/>
    <p:sldMasterId id="2147483660" r:id="rId9"/>
  </p:sldMasterIdLst>
  <p:notesMasterIdLst>
    <p:notesMasterId r:id="rId20"/>
  </p:notesMasterIdLst>
  <p:sldIdLst>
    <p:sldId id="309" r:id="rId10"/>
    <p:sldId id="475" r:id="rId11"/>
    <p:sldId id="319" r:id="rId12"/>
    <p:sldId id="474" r:id="rId13"/>
    <p:sldId id="313" r:id="rId14"/>
    <p:sldId id="312" r:id="rId15"/>
    <p:sldId id="314" r:id="rId16"/>
    <p:sldId id="318" r:id="rId17"/>
    <p:sldId id="316" r:id="rId18"/>
    <p:sldId id="32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84542-7036-5960-2333-9029539DDA40}" name="ANTONIOU, Erato (NHS ENGLAND - X24)" initials="AX" userId="S::erato.antoniou@nhs.net::1d8b1635-5861-4e35-8476-75e3ed9d0d78" providerId="AD"/>
  <p188:author id="{513A48CF-70A7-9B83-6022-56F89AD6B64E}" name="EVANS, Lucia (NHS ENGLAND - X24)" initials="EX" userId="S::lucia.evans3@nhs.net::157648dd-e607-4e63-90d7-6d684d07efe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323234-F4E0-B12D-5702-8480CD1831AF}" v="399" dt="2024-07-08T13:53:53.422"/>
    <p1510:client id="{D60AD924-A0E4-ADDC-F1A6-E52F55A9653F}" v="7" dt="2024-07-09T09:30:24.6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BB1E9C-0B61-4D08-A7B9-4F55D00A17EF}" type="datetimeFigureOut">
              <a:t>7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B0AC19-F965-4A56-A9D0-7EBD6C8888C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5579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4EC7EF-95E1-3D44-A982-BC7A3E9C61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5756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CA58-B922-40DC-B862-D6AD1B4CB85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3876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" name="Google Shape;660;g1c72f95f77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1" name="Google Shape;661;g1c72f95f77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79146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0" name="Google Shape;167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71" name="Google Shape;167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sz="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672" name="Google Shape;1672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1" name="Google Shape;1551;g2e37ced3bdd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52" name="Google Shape;1552;g2e37ced3bdd_1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53" name="Google Shape;1553;g2e37ced3bdd_1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4" name="Google Shape;1724;g2e37ced3bdd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25" name="Google Shape;1725;g2e37ced3bdd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26" name="Google Shape;1726;g2e37ced3bdd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6" name="Google Shape;1526;g2e2e69b1e76_1_5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527" name="Google Shape;1527;g2e2e69b1e76_1_5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8150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0" name="Google Shape;2870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71" name="Google Shape;2871;p2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sz="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2872" name="Google Shape;2872;p2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png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8.png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8.png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png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content, basic text one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32DDCA5-A307-96EA-64A8-CCBA8E5F6393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413" y="3166643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2708" y="2106000"/>
            <a:ext cx="7632000" cy="402644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91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rge Cent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BFC8184-A52B-1D58-DCBB-64F070DB04AB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F1649F8-C95E-B04E-A0E7-F89193CC9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4200" b="0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Showcase quotation</a:t>
            </a:r>
            <a:br>
              <a:rPr lang="en-GB"/>
            </a:br>
            <a:r>
              <a:rPr lang="en-GB"/>
              <a:t>with centred text over multiple</a:t>
            </a:r>
            <a:br>
              <a:rPr lang="en-GB"/>
            </a:br>
            <a:r>
              <a:rPr lang="en-GB"/>
              <a:t>lines, try to make a harmonious shape like a diamond or </a:t>
            </a:r>
            <a:r>
              <a:rPr lang="en-GB" err="1"/>
              <a:t>xmas</a:t>
            </a:r>
            <a:r>
              <a:rPr lang="en-GB"/>
              <a:t> tree or</a:t>
            </a:r>
            <a:br>
              <a:rPr lang="en-GB"/>
            </a:br>
            <a:r>
              <a:rPr lang="en-GB"/>
              <a:t>something similar”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406466E-798B-BE4C-B09F-C1B1244AA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accent6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Name Surname,</a:t>
            </a:r>
            <a:br>
              <a:rPr lang="en-GB"/>
            </a:br>
            <a:r>
              <a:rPr lang="en-GB"/>
              <a:t>Job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1AA706-8AF6-8441-8070-06566C40A690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42D3EEB-DBD8-CD48-C723-5F35F1DADF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55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wo columns">
  <p:cSld name="2_Title, subhead, two columns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7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17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17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p17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Google Shape;100;p1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" name="Google Shape;101;p1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02" name="Google Shape;102;p17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3" name="Google Shape;103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hree columns">
  <p:cSld name="2_Title, subhead, Three columns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8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18"/>
          <p:cNvSpPr txBox="1">
            <a:spLocks noGrp="1"/>
          </p:cNvSpPr>
          <p:nvPr>
            <p:ph type="body"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" name="Google Shape;107;p18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18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10;p1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11" name="Google Shape;111;p18"/>
          <p:cNvCxnSpPr/>
          <p:nvPr/>
        </p:nvCxnSpPr>
        <p:spPr>
          <a:xfrm>
            <a:off x="432000" y="63487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2" name="Google Shape;112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Heading, subhead, bullets one column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9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19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19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1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1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1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20" name="Google Shape;120;p1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1" name="Google Shape;121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slide with image A">
  <p:cSld name="Headline slide with image A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0"/>
          <p:cNvSpPr/>
          <p:nvPr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20"/>
          <p:cNvSpPr txBox="1">
            <a:spLocks noGrp="1"/>
          </p:cNvSpPr>
          <p:nvPr>
            <p:ph type="title"/>
          </p:nvPr>
        </p:nvSpPr>
        <p:spPr>
          <a:xfrm>
            <a:off x="354093" y="1647568"/>
            <a:ext cx="4909569" cy="313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2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2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" name="Google Shape;127;p20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Quote large Centred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1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2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21"/>
          <p:cNvSpPr txBox="1">
            <a:spLocks noGrp="1"/>
          </p:cNvSpPr>
          <p:nvPr>
            <p:ph type="body" idx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21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3" name="Google Shape;133;p21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4" name="Google Shape;134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Grey">
  <p:cSld name="ICON Grid Boxes 4UP Grey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2"/>
          <p:cNvSpPr txBox="1">
            <a:spLocks noGrp="1"/>
          </p:cNvSpPr>
          <p:nvPr>
            <p:ph type="body" idx="1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2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2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139;p22"/>
          <p:cNvSpPr/>
          <p:nvPr/>
        </p:nvSpPr>
        <p:spPr>
          <a:xfrm>
            <a:off x="227772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" name="Google Shape;140;p22"/>
          <p:cNvSpPr txBox="1">
            <a:spLocks noGrp="1"/>
          </p:cNvSpPr>
          <p:nvPr>
            <p:ph type="body" idx="2"/>
          </p:nvPr>
        </p:nvSpPr>
        <p:spPr>
          <a:xfrm>
            <a:off x="6231884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22"/>
          <p:cNvSpPr/>
          <p:nvPr/>
        </p:nvSpPr>
        <p:spPr>
          <a:xfrm>
            <a:off x="6231884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22"/>
          <p:cNvSpPr txBox="1">
            <a:spLocks noGrp="1"/>
          </p:cNvSpPr>
          <p:nvPr>
            <p:ph type="body" idx="3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22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" name="Google Shape;144;p22"/>
          <p:cNvSpPr/>
          <p:nvPr/>
        </p:nvSpPr>
        <p:spPr>
          <a:xfrm>
            <a:off x="2277721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22"/>
          <p:cNvSpPr txBox="1">
            <a:spLocks noGrp="1"/>
          </p:cNvSpPr>
          <p:nvPr>
            <p:ph type="body" idx="4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22"/>
          <p:cNvSpPr/>
          <p:nvPr/>
        </p:nvSpPr>
        <p:spPr>
          <a:xfrm>
            <a:off x="6239447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2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" name="Google Shape;148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9" name="Google Shape;149;p22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Grey">
  <p:cSld name="ICON Grid Boxes 2UP Grey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3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2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2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23"/>
          <p:cNvSpPr txBox="1">
            <a:spLocks noGrp="1"/>
          </p:cNvSpPr>
          <p:nvPr>
            <p:ph type="body" idx="1"/>
          </p:nvPr>
        </p:nvSpPr>
        <p:spPr>
          <a:xfrm>
            <a:off x="432000" y="2699082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23"/>
          <p:cNvSpPr/>
          <p:nvPr/>
        </p:nvSpPr>
        <p:spPr>
          <a:xfrm>
            <a:off x="432000" y="1691082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23"/>
          <p:cNvSpPr txBox="1">
            <a:spLocks noGrp="1"/>
          </p:cNvSpPr>
          <p:nvPr>
            <p:ph type="body" idx="2"/>
          </p:nvPr>
        </p:nvSpPr>
        <p:spPr>
          <a:xfrm>
            <a:off x="4324378" y="2699082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23"/>
          <p:cNvSpPr/>
          <p:nvPr/>
        </p:nvSpPr>
        <p:spPr>
          <a:xfrm>
            <a:off x="4324378" y="1691082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23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2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0" name="Google Shape;160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1" name="Google Shape;161;p23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, Titles 4UP Grey">
  <p:cSld name="TEXT Grid, Titles 4UP Grey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4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p24"/>
          <p:cNvSpPr/>
          <p:nvPr/>
        </p:nvSpPr>
        <p:spPr>
          <a:xfrm>
            <a:off x="43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" name="Google Shape;165;p24"/>
          <p:cNvSpPr txBox="1">
            <a:spLocks noGrp="1"/>
          </p:cNvSpPr>
          <p:nvPr>
            <p:ph type="body" idx="1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2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2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24"/>
          <p:cNvSpPr txBox="1">
            <a:spLocks noGrp="1"/>
          </p:cNvSpPr>
          <p:nvPr>
            <p:ph type="body" idx="2"/>
          </p:nvPr>
        </p:nvSpPr>
        <p:spPr>
          <a:xfrm>
            <a:off x="4392000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24"/>
          <p:cNvSpPr/>
          <p:nvPr/>
        </p:nvSpPr>
        <p:spPr>
          <a:xfrm>
            <a:off x="439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24"/>
          <p:cNvSpPr txBox="1">
            <a:spLocks noGrp="1"/>
          </p:cNvSpPr>
          <p:nvPr>
            <p:ph type="body" idx="3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24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24"/>
          <p:cNvSpPr/>
          <p:nvPr/>
        </p:nvSpPr>
        <p:spPr>
          <a:xfrm>
            <a:off x="43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24"/>
          <p:cNvSpPr txBox="1">
            <a:spLocks noGrp="1"/>
          </p:cNvSpPr>
          <p:nvPr>
            <p:ph type="body" idx="4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24"/>
          <p:cNvSpPr/>
          <p:nvPr/>
        </p:nvSpPr>
        <p:spPr>
          <a:xfrm>
            <a:off x="439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2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24"/>
          <p:cNvSpPr txBox="1">
            <a:spLocks noGrp="1"/>
          </p:cNvSpPr>
          <p:nvPr>
            <p:ph type="body" idx="5"/>
          </p:nvPr>
        </p:nvSpPr>
        <p:spPr>
          <a:xfrm>
            <a:off x="540000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" name="Google Shape;177;p24"/>
          <p:cNvSpPr txBox="1">
            <a:spLocks noGrp="1"/>
          </p:cNvSpPr>
          <p:nvPr>
            <p:ph type="body" idx="6"/>
          </p:nvPr>
        </p:nvSpPr>
        <p:spPr>
          <a:xfrm>
            <a:off x="4500000" y="1302462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24"/>
          <p:cNvSpPr txBox="1">
            <a:spLocks noGrp="1"/>
          </p:cNvSpPr>
          <p:nvPr>
            <p:ph type="body" idx="7"/>
          </p:nvPr>
        </p:nvSpPr>
        <p:spPr>
          <a:xfrm>
            <a:off x="54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24"/>
          <p:cNvSpPr txBox="1">
            <a:spLocks noGrp="1"/>
          </p:cNvSpPr>
          <p:nvPr>
            <p:ph type="body" idx="8"/>
          </p:nvPr>
        </p:nvSpPr>
        <p:spPr>
          <a:xfrm>
            <a:off x="450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0" name="Google Shape;180;p2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81" name="Google Shape;181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with Intro">
  <p:cSld name="Icon Grid Boxes 2UP with Intro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5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5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25"/>
          <p:cNvSpPr txBox="1">
            <a:spLocks noGrp="1"/>
          </p:cNvSpPr>
          <p:nvPr>
            <p:ph type="body" idx="1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25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8" name="Google Shape;188;p25"/>
          <p:cNvSpPr txBox="1">
            <a:spLocks noGrp="1"/>
          </p:cNvSpPr>
          <p:nvPr>
            <p:ph type="body" idx="2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25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25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25"/>
          <p:cNvSpPr txBox="1">
            <a:spLocks noGrp="1"/>
          </p:cNvSpPr>
          <p:nvPr>
            <p:ph type="body" idx="3"/>
          </p:nvPr>
        </p:nvSpPr>
        <p:spPr>
          <a:xfrm>
            <a:off x="432000" y="1735014"/>
            <a:ext cx="3564001" cy="431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2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3" name="Google Shape;193;p2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94" name="Google Shape;194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3UP">
  <p:cSld name="Icon Grid Boxes 3UP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6"/>
          <p:cNvSpPr txBox="1">
            <a:spLocks noGrp="1"/>
          </p:cNvSpPr>
          <p:nvPr>
            <p:ph type="body" idx="1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p2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26"/>
          <p:cNvSpPr/>
          <p:nvPr/>
        </p:nvSpPr>
        <p:spPr>
          <a:xfrm>
            <a:off x="412708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26"/>
          <p:cNvSpPr txBox="1">
            <a:spLocks noGrp="1"/>
          </p:cNvSpPr>
          <p:nvPr>
            <p:ph type="body" idx="2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" name="Google Shape;201;p26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" name="Google Shape;202;p26"/>
          <p:cNvSpPr txBox="1">
            <a:spLocks noGrp="1"/>
          </p:cNvSpPr>
          <p:nvPr>
            <p:ph type="body" idx="3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3" name="Google Shape;203;p26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Google Shape;204;p26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p2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06" name="Google Shape;206;p2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07" name="Google Shape;207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227772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1884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6231884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2277721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6239447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ACF78F6-439A-384B-9C21-D11B5B50E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244FF8-F4E4-0514-77D0-8D8D69F933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BEB741-20EA-C36A-7EF8-DE1CD1F1AA0C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223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with Intro">
  <p:cSld name="ICON Grid Boxes 4UP with Intro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7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2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27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27"/>
          <p:cNvSpPr txBox="1">
            <a:spLocks noGrp="1"/>
          </p:cNvSpPr>
          <p:nvPr>
            <p:ph type="body" idx="1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27"/>
          <p:cNvSpPr/>
          <p:nvPr/>
        </p:nvSpPr>
        <p:spPr>
          <a:xfrm>
            <a:off x="4310428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27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" name="Google Shape;215;p27"/>
          <p:cNvSpPr/>
          <p:nvPr/>
        </p:nvSpPr>
        <p:spPr>
          <a:xfrm>
            <a:off x="8264591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Google Shape;216;p27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27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8" name="Google Shape;218;p27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27"/>
          <p:cNvSpPr/>
          <p:nvPr/>
        </p:nvSpPr>
        <p:spPr>
          <a:xfrm>
            <a:off x="8272154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0" name="Google Shape;220;p2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21" name="Google Shape;221;p2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" name="Google Shape;222;p27"/>
          <p:cNvSpPr txBox="1">
            <a:spLocks noGrp="1"/>
          </p:cNvSpPr>
          <p:nvPr>
            <p:ph type="body" idx="5"/>
          </p:nvPr>
        </p:nvSpPr>
        <p:spPr>
          <a:xfrm>
            <a:off x="432000" y="1285014"/>
            <a:ext cx="3564001" cy="476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23" name="Google Shape;223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5UP">
  <p:cSld name="ICON Grid boxes 5UP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28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2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28"/>
          <p:cNvSpPr txBox="1">
            <a:spLocks noGrp="1"/>
          </p:cNvSpPr>
          <p:nvPr>
            <p:ph type="body" idx="1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" name="Google Shape;228;p28"/>
          <p:cNvSpPr/>
          <p:nvPr/>
        </p:nvSpPr>
        <p:spPr>
          <a:xfrm>
            <a:off x="2370978" y="1089953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28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0" name="Google Shape;230;p28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p28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" name="Google Shape;232;p28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28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4" name="Google Shape;234;p28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28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6" name="Google Shape;236;p28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28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8" name="Google Shape;238;p2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9" name="Google Shape;239;p2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0" name="Google Shape;240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6UP Grey">
  <p:cSld name="ICON Grid Boxes 6UP Grey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29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2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p2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29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p29"/>
          <p:cNvSpPr txBox="1">
            <a:spLocks noGrp="1"/>
          </p:cNvSpPr>
          <p:nvPr>
            <p:ph type="body" idx="2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29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29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" name="Google Shape;249;p29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0" name="Google Shape;250;p29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29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2" name="Google Shape;252;p29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29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" name="Google Shape;254;p29"/>
          <p:cNvSpPr/>
          <p:nvPr/>
        </p:nvSpPr>
        <p:spPr>
          <a:xfrm>
            <a:off x="4374434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29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" name="Google Shape;256;p29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2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58" name="Google Shape;258;p2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59" name="Google Shape;259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2UP +Intro ">
  <p:cSld name="TEXT Grid Boxes, Titles 2UP +Intro "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30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" name="Google Shape;262;p3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3" name="Google Shape;263;p3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30"/>
          <p:cNvSpPr txBox="1">
            <a:spLocks noGrp="1"/>
          </p:cNvSpPr>
          <p:nvPr>
            <p:ph type="body" idx="1"/>
          </p:nvPr>
        </p:nvSpPr>
        <p:spPr>
          <a:xfrm>
            <a:off x="4366871" y="2290349"/>
            <a:ext cx="3564000" cy="376437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5" name="Google Shape;265;p30"/>
          <p:cNvSpPr/>
          <p:nvPr/>
        </p:nvSpPr>
        <p:spPr>
          <a:xfrm>
            <a:off x="4366871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30"/>
          <p:cNvSpPr txBox="1">
            <a:spLocks noGrp="1"/>
          </p:cNvSpPr>
          <p:nvPr>
            <p:ph type="body" idx="2"/>
          </p:nvPr>
        </p:nvSpPr>
        <p:spPr>
          <a:xfrm>
            <a:off x="8259249" y="2290349"/>
            <a:ext cx="3564000" cy="376437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30"/>
          <p:cNvSpPr/>
          <p:nvPr/>
        </p:nvSpPr>
        <p:spPr>
          <a:xfrm>
            <a:off x="8259249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30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Google Shape;269;p30"/>
          <p:cNvSpPr txBox="1">
            <a:spLocks noGrp="1"/>
          </p:cNvSpPr>
          <p:nvPr>
            <p:ph type="body" idx="3"/>
          </p:nvPr>
        </p:nvSpPr>
        <p:spPr>
          <a:xfrm>
            <a:off x="432000" y="1285014"/>
            <a:ext cx="3564001" cy="476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" name="Google Shape;270;p3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30"/>
          <p:cNvSpPr txBox="1">
            <a:spLocks noGrp="1"/>
          </p:cNvSpPr>
          <p:nvPr>
            <p:ph type="body" idx="4"/>
          </p:nvPr>
        </p:nvSpPr>
        <p:spPr>
          <a:xfrm>
            <a:off x="4474871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2" name="Google Shape;272;p30"/>
          <p:cNvSpPr txBox="1">
            <a:spLocks noGrp="1"/>
          </p:cNvSpPr>
          <p:nvPr>
            <p:ph type="body" idx="5"/>
          </p:nvPr>
        </p:nvSpPr>
        <p:spPr>
          <a:xfrm>
            <a:off x="8367249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3" name="Google Shape;273;p3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74" name="Google Shape;274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3UP">
  <p:cSld name="TEXT Grid boxes, Titles 3UP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body" idx="1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" name="Google Shape;277;p31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3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9" name="Google Shape;279;p31"/>
          <p:cNvSpPr/>
          <p:nvPr/>
        </p:nvSpPr>
        <p:spPr>
          <a:xfrm>
            <a:off x="412708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31"/>
          <p:cNvSpPr txBox="1">
            <a:spLocks noGrp="1"/>
          </p:cNvSpPr>
          <p:nvPr>
            <p:ph type="body" idx="2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31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31"/>
          <p:cNvSpPr txBox="1">
            <a:spLocks noGrp="1"/>
          </p:cNvSpPr>
          <p:nvPr>
            <p:ph type="body" idx="3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31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4" name="Google Shape;284;p31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3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31"/>
          <p:cNvSpPr txBox="1">
            <a:spLocks noGrp="1"/>
          </p:cNvSpPr>
          <p:nvPr>
            <p:ph type="body" idx="4"/>
          </p:nvPr>
        </p:nvSpPr>
        <p:spPr>
          <a:xfrm>
            <a:off x="520708" y="1897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31"/>
          <p:cNvSpPr txBox="1">
            <a:spLocks noGrp="1"/>
          </p:cNvSpPr>
          <p:nvPr>
            <p:ph type="body" idx="5"/>
          </p:nvPr>
        </p:nvSpPr>
        <p:spPr>
          <a:xfrm>
            <a:off x="4474871" y="1897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31"/>
          <p:cNvSpPr txBox="1">
            <a:spLocks noGrp="1"/>
          </p:cNvSpPr>
          <p:nvPr>
            <p:ph type="body" idx="6"/>
          </p:nvPr>
        </p:nvSpPr>
        <p:spPr>
          <a:xfrm>
            <a:off x="8367249" y="1891996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9" name="Google Shape;289;p3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90" name="Google Shape;290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4UP +Intro">
  <p:cSld name="TEXT Grid boxes, Titles 4UP +Intro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3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3" name="Google Shape;293;p3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4" name="Google Shape;294;p3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32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6" name="Google Shape;296;p32"/>
          <p:cNvSpPr txBox="1">
            <a:spLocks noGrp="1"/>
          </p:cNvSpPr>
          <p:nvPr>
            <p:ph type="body" idx="1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7" name="Google Shape;297;p32"/>
          <p:cNvSpPr/>
          <p:nvPr/>
        </p:nvSpPr>
        <p:spPr>
          <a:xfrm>
            <a:off x="4310428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8" name="Google Shape;298;p32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" name="Google Shape;299;p32"/>
          <p:cNvSpPr/>
          <p:nvPr/>
        </p:nvSpPr>
        <p:spPr>
          <a:xfrm>
            <a:off x="8264591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Google Shape;300;p32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" name="Google Shape;301;p32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2" name="Google Shape;302;p32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3" name="Google Shape;303;p32"/>
          <p:cNvSpPr/>
          <p:nvPr/>
        </p:nvSpPr>
        <p:spPr>
          <a:xfrm>
            <a:off x="8272154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p32"/>
          <p:cNvSpPr txBox="1">
            <a:spLocks noGrp="1"/>
          </p:cNvSpPr>
          <p:nvPr>
            <p:ph type="body" idx="5"/>
          </p:nvPr>
        </p:nvSpPr>
        <p:spPr>
          <a:xfrm>
            <a:off x="432000" y="1393014"/>
            <a:ext cx="3564001" cy="4865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3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32"/>
          <p:cNvSpPr txBox="1">
            <a:spLocks noGrp="1"/>
          </p:cNvSpPr>
          <p:nvPr>
            <p:ph type="body" idx="6"/>
          </p:nvPr>
        </p:nvSpPr>
        <p:spPr>
          <a:xfrm>
            <a:off x="4418428" y="1393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" name="Google Shape;307;p32"/>
          <p:cNvSpPr txBox="1">
            <a:spLocks noGrp="1"/>
          </p:cNvSpPr>
          <p:nvPr>
            <p:ph type="body" idx="7"/>
          </p:nvPr>
        </p:nvSpPr>
        <p:spPr>
          <a:xfrm>
            <a:off x="8372591" y="1394399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32"/>
          <p:cNvSpPr txBox="1">
            <a:spLocks noGrp="1"/>
          </p:cNvSpPr>
          <p:nvPr>
            <p:ph type="body" idx="8"/>
          </p:nvPr>
        </p:nvSpPr>
        <p:spPr>
          <a:xfrm>
            <a:off x="4418428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" name="Google Shape;309;p32"/>
          <p:cNvSpPr txBox="1">
            <a:spLocks noGrp="1"/>
          </p:cNvSpPr>
          <p:nvPr>
            <p:ph type="body" idx="9"/>
          </p:nvPr>
        </p:nvSpPr>
        <p:spPr>
          <a:xfrm>
            <a:off x="8380154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0" name="Google Shape;310;p3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11" name="Google Shape;311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5UP">
  <p:cSld name="TEXT Grid boxes, Titles 5UP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4" name="Google Shape;314;p3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33"/>
          <p:cNvSpPr txBox="1">
            <a:spLocks noGrp="1"/>
          </p:cNvSpPr>
          <p:nvPr>
            <p:ph type="body" idx="1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" name="Google Shape;316;p33"/>
          <p:cNvSpPr/>
          <p:nvPr/>
        </p:nvSpPr>
        <p:spPr>
          <a:xfrm>
            <a:off x="2370978" y="1113399"/>
            <a:ext cx="3564000" cy="899876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7" name="Google Shape;317;p33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" name="Google Shape;318;p33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33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" name="Google Shape;320;p33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1" name="Google Shape;321;p33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2" name="Google Shape;322;p33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" name="Google Shape;323;p33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4" name="Google Shape;324;p33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5" name="Google Shape;325;p33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p3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33"/>
          <p:cNvSpPr txBox="1">
            <a:spLocks noGrp="1"/>
          </p:cNvSpPr>
          <p:nvPr>
            <p:ph type="body" idx="6"/>
          </p:nvPr>
        </p:nvSpPr>
        <p:spPr>
          <a:xfrm>
            <a:off x="2478978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8" name="Google Shape;328;p33"/>
          <p:cNvSpPr txBox="1">
            <a:spLocks noGrp="1"/>
          </p:cNvSpPr>
          <p:nvPr>
            <p:ph type="body" idx="7"/>
          </p:nvPr>
        </p:nvSpPr>
        <p:spPr>
          <a:xfrm>
            <a:off x="6370431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33"/>
          <p:cNvSpPr txBox="1">
            <a:spLocks noGrp="1"/>
          </p:cNvSpPr>
          <p:nvPr>
            <p:ph type="body" idx="8"/>
          </p:nvPr>
        </p:nvSpPr>
        <p:spPr>
          <a:xfrm>
            <a:off x="524490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0" name="Google Shape;330;p33"/>
          <p:cNvSpPr txBox="1">
            <a:spLocks noGrp="1"/>
          </p:cNvSpPr>
          <p:nvPr>
            <p:ph type="body" idx="9"/>
          </p:nvPr>
        </p:nvSpPr>
        <p:spPr>
          <a:xfrm>
            <a:off x="4460077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3"/>
          <p:cNvSpPr txBox="1">
            <a:spLocks noGrp="1"/>
          </p:cNvSpPr>
          <p:nvPr>
            <p:ph type="body" idx="13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2" name="Google Shape;332;p3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33" name="Google Shape;333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6UP">
  <p:cSld name="TEXT Grid boxes, Titles 6UP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34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" name="Google Shape;336;p3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3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8" name="Google Shape;338;p34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34"/>
          <p:cNvSpPr txBox="1">
            <a:spLocks noGrp="1"/>
          </p:cNvSpPr>
          <p:nvPr>
            <p:ph type="body" idx="2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34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1" name="Google Shape;341;p34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" name="Google Shape;342;p34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3" name="Google Shape;343;p34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" name="Google Shape;344;p34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5" name="Google Shape;345;p34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6" name="Google Shape;346;p34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" name="Google Shape;347;p34"/>
          <p:cNvSpPr/>
          <p:nvPr/>
        </p:nvSpPr>
        <p:spPr>
          <a:xfrm>
            <a:off x="4374434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Google Shape;348;p34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" name="Google Shape;349;p34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0" name="Google Shape;350;p3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1" name="Google Shape;351;p34"/>
          <p:cNvSpPr txBox="1">
            <a:spLocks noGrp="1"/>
          </p:cNvSpPr>
          <p:nvPr>
            <p:ph type="body" idx="7"/>
          </p:nvPr>
        </p:nvSpPr>
        <p:spPr>
          <a:xfrm>
            <a:off x="520708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" name="Google Shape;352;p34"/>
          <p:cNvSpPr txBox="1">
            <a:spLocks noGrp="1"/>
          </p:cNvSpPr>
          <p:nvPr>
            <p:ph type="body" idx="8"/>
          </p:nvPr>
        </p:nvSpPr>
        <p:spPr>
          <a:xfrm>
            <a:off x="4482434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" name="Google Shape;353;p34"/>
          <p:cNvSpPr txBox="1">
            <a:spLocks noGrp="1"/>
          </p:cNvSpPr>
          <p:nvPr>
            <p:ph type="body" idx="9"/>
          </p:nvPr>
        </p:nvSpPr>
        <p:spPr>
          <a:xfrm>
            <a:off x="8367249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4" name="Google Shape;354;p34"/>
          <p:cNvSpPr txBox="1">
            <a:spLocks noGrp="1"/>
          </p:cNvSpPr>
          <p:nvPr>
            <p:ph type="body" idx="13"/>
          </p:nvPr>
        </p:nvSpPr>
        <p:spPr>
          <a:xfrm>
            <a:off x="520708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body" idx="14"/>
          </p:nvPr>
        </p:nvSpPr>
        <p:spPr>
          <a:xfrm>
            <a:off x="4482434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" name="Google Shape;356;p34"/>
          <p:cNvSpPr txBox="1">
            <a:spLocks noGrp="1"/>
          </p:cNvSpPr>
          <p:nvPr>
            <p:ph type="body" idx="15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7" name="Google Shape;357;p3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58" name="Google Shape;358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image">
  <p:cSld name="Full page image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35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1" name="Google Shape;361;p3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2" name="Google Shape;362;p35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blue">
  <p:cSld name="Quote blue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36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5" name="Google Shape;365;p3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6" name="Google Shape;366;p36"/>
          <p:cNvSpPr txBox="1">
            <a:spLocks noGrp="1"/>
          </p:cNvSpPr>
          <p:nvPr>
            <p:ph type="body" idx="1"/>
          </p:nvPr>
        </p:nvSpPr>
        <p:spPr>
          <a:xfrm>
            <a:off x="537224" y="1314156"/>
            <a:ext cx="7503849" cy="3466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36"/>
          <p:cNvSpPr txBox="1">
            <a:spLocks noGrp="1"/>
          </p:cNvSpPr>
          <p:nvPr>
            <p:ph type="body" idx="2"/>
          </p:nvPr>
        </p:nvSpPr>
        <p:spPr>
          <a:xfrm>
            <a:off x="828000" y="4780883"/>
            <a:ext cx="7503849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8" name="Google Shape;368;p3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69" name="Google Shape;369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2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B26CA0-4967-284E-42B6-5686F8C6B07B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2000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4378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4324378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5DD270E-858A-0745-A4F5-3FE5B4919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D787DC-00EF-B13A-FE97-CE51273E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783BA3-377B-7D8A-0B7B-91C314676A0C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828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1" name="Google Shape;371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72" name="Google Shape;372;p3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3" name="Google Shape;373;p3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4" name="Google Shape;374;p3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75" name="Google Shape;375;p37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"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7" name="Google Shape;377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78" name="Google Shape;378;p3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38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38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81" name="Google Shape;381;p38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"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3" name="Google Shape;383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84" name="Google Shape;384;p3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5" name="Google Shape;385;p39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3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7" name="Google Shape;387;p3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"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p4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0" name="Google Shape;390;p40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1" name="Google Shape;391;p4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" name="Google Shape;392;p40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393" name="Google Shape;39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e and image 2">
  <p:cSld name="4_Quote and image 2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5" name="Google Shape;395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96" name="Google Shape;396;p4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41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8" name="Google Shape;398;p41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99" name="Google Shape;399;p41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" name="Google Shape;400;p41"/>
          <p:cNvSpPr txBox="1"/>
          <p:nvPr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e and image 2">
  <p:cSld name="5_Quote and image 2"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2" name="Google Shape;402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03" name="Google Shape;403;p4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4" name="Google Shape;404;p42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5" name="Google Shape;405;p4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06" name="Google Shape;406;p42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42"/>
          <p:cNvSpPr txBox="1"/>
          <p:nvPr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4">
  <p:cSld name="2_Quote and image 4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Google Shape;409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10" name="Google Shape;410;p4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1" name="Google Shape;411;p4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2" name="Google Shape;412;p4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3" name="Google Shape;413;p43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14" name="Google Shape;414;p43"/>
          <p:cNvSpPr txBox="1"/>
          <p:nvPr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4">
  <p:cSld name="3_Quote and image 4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4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7" name="Google Shape;417;p4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8" name="Google Shape;418;p4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9" name="Google Shape;419;p44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420" name="Google Shape;420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21" name="Google Shape;421;p44"/>
          <p:cNvSpPr txBox="1"/>
          <p:nvPr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reaker Heading1-Blue-DarkBlueA">
  <p:cSld name="5_Breaker Heading1-Blue-DarkBlueA"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3" name="Google Shape;423;p45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4" name="Google Shape;424;p45"/>
          <p:cNvSpPr txBox="1">
            <a:spLocks noGrp="1"/>
          </p:cNvSpPr>
          <p:nvPr>
            <p:ph type="body" idx="1"/>
          </p:nvPr>
        </p:nvSpPr>
        <p:spPr>
          <a:xfrm>
            <a:off x="882932" y="3564000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" name="Google Shape;425;p45"/>
          <p:cNvSpPr txBox="1">
            <a:spLocks noGrp="1"/>
          </p:cNvSpPr>
          <p:nvPr>
            <p:ph type="body" idx="2"/>
          </p:nvPr>
        </p:nvSpPr>
        <p:spPr>
          <a:xfrm>
            <a:off x="882932" y="2520000"/>
            <a:ext cx="6948488" cy="963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4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reaker Heading1-Blue-DarkBlueA">
  <p:cSld name="6_Breaker Heading1-Blue-DarkBlueA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p46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9" name="Google Shape;429;p46" descr="Chart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16747" y="-121920"/>
            <a:ext cx="12408747" cy="6979920"/>
          </a:xfrm>
          <a:prstGeom prst="rect">
            <a:avLst/>
          </a:prstGeom>
          <a:noFill/>
          <a:ln>
            <a:noFill/>
          </a:ln>
        </p:spPr>
      </p:pic>
      <p:sp>
        <p:nvSpPr>
          <p:cNvPr id="430" name="Google Shape;430;p46"/>
          <p:cNvSpPr txBox="1">
            <a:spLocks noGrp="1"/>
          </p:cNvSpPr>
          <p:nvPr>
            <p:ph type="body" idx="1"/>
          </p:nvPr>
        </p:nvSpPr>
        <p:spPr>
          <a:xfrm>
            <a:off x="612000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" name="Google Shape;431;p46"/>
          <p:cNvSpPr txBox="1">
            <a:spLocks noGrp="1"/>
          </p:cNvSpPr>
          <p:nvPr>
            <p:ph type="body" idx="2"/>
          </p:nvPr>
        </p:nvSpPr>
        <p:spPr>
          <a:xfrm>
            <a:off x="612000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" name="Google Shape;432;p4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id, Titl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28BBC9FB-69CA-ACB9-E6B9-6E2830215B6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205929B3-ED58-E54F-B724-E24FB5F163DF}"/>
              </a:ext>
            </a:extLst>
          </p:cNvPr>
          <p:cNvSpPr/>
          <p:nvPr userDrawn="1"/>
        </p:nvSpPr>
        <p:spPr>
          <a:xfrm>
            <a:off x="43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92000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9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3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9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F5640E1-FA0E-4F42-9387-CD7C434D2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555C5-A77A-2E44-BAF7-246298421E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4B913F3-B51C-1F4F-BA00-F024BBF468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000" y="1302462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A16CC21-F99A-6F47-A063-FA9FE06BAE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11DBD00-D83F-EF49-900D-B6C65CED2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0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9357DCD-A469-B34A-A880-D744CA731C1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BA4CC6C-41AA-2D50-A8B9-63559566F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reaker Heading1-Blue-DarkBlueA">
  <p:cSld name="8_Breaker Heading1-Blue-DarkBlueA"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47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5" name="Google Shape;435;p47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2265" y="-122410"/>
            <a:ext cx="12499929" cy="7031210"/>
          </a:xfrm>
          <a:prstGeom prst="rect">
            <a:avLst/>
          </a:prstGeom>
          <a:noFill/>
          <a:ln>
            <a:noFill/>
          </a:ln>
        </p:spPr>
      </p:pic>
      <p:sp>
        <p:nvSpPr>
          <p:cNvPr id="436" name="Google Shape;436;p47"/>
          <p:cNvSpPr txBox="1">
            <a:spLocks noGrp="1"/>
          </p:cNvSpPr>
          <p:nvPr>
            <p:ph type="body" idx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" name="Google Shape;437;p47"/>
          <p:cNvSpPr txBox="1">
            <a:spLocks noGrp="1"/>
          </p:cNvSpPr>
          <p:nvPr>
            <p:ph type="body" idx="2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" name="Google Shape;438;p4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reaker Heading1-Blue-DarkBlueA">
  <p:cSld name="7_Breaker Heading1-Blue-DarkBlueA"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" name="Google Shape;440;p48" descr="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41" name="Google Shape;441;p48"/>
          <p:cNvSpPr txBox="1">
            <a:spLocks noGrp="1"/>
          </p:cNvSpPr>
          <p:nvPr>
            <p:ph type="body" idx="1"/>
          </p:nvPr>
        </p:nvSpPr>
        <p:spPr>
          <a:xfrm>
            <a:off x="854598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8"/>
          <p:cNvSpPr txBox="1">
            <a:spLocks noGrp="1"/>
          </p:cNvSpPr>
          <p:nvPr>
            <p:ph type="body" idx="2"/>
          </p:nvPr>
        </p:nvSpPr>
        <p:spPr>
          <a:xfrm>
            <a:off x="854598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3" name="Google Shape;443;p4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slide with image A">
  <p:cSld name="1_Headline slide with image A"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4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46" name="Google Shape;446;p49"/>
          <p:cNvSpPr/>
          <p:nvPr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" name="Google Shape;447;p4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8" name="Google Shape;448;p4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p49"/>
          <p:cNvSpPr txBox="1">
            <a:spLocks noGrp="1"/>
          </p:cNvSpPr>
          <p:nvPr>
            <p:ph type="body" idx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" name="Google Shape;450;p49"/>
          <p:cNvSpPr txBox="1">
            <a:spLocks noGrp="1"/>
          </p:cNvSpPr>
          <p:nvPr>
            <p:ph type="body" idx="3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ACCESSIBLE">
  <p:cSld name="End Slide ACCESSIBLE"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2" name="Google Shape;452;p50"/>
          <p:cNvCxnSpPr/>
          <p:nvPr/>
        </p:nvCxnSpPr>
        <p:spPr>
          <a:xfrm>
            <a:off x="5715926" y="2605852"/>
            <a:ext cx="865108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3" name="Google Shape;453;p5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50"/>
          <p:cNvSpPr txBox="1"/>
          <p:nvPr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EB8"/>
              </a:buClr>
              <a:buSzPts val="3600"/>
              <a:buFont typeface="Arial"/>
              <a:buNone/>
            </a:pPr>
            <a:r>
              <a:rPr lang="en-GB"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Thank You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@nhsengland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company/nhsengland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	england.nhs.uk</a:t>
            </a:r>
            <a:endParaRPr sz="24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5" name="Google Shape;455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6" name="Google Shape;456;p5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7" name="Google Shape;457;p5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58" name="Google Shape;458;p50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51045" y="364425"/>
            <a:ext cx="1208955" cy="979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9" name="Google Shape;459;p50" descr="Icon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400000">
            <a:off x="-2509143" y="-71523"/>
            <a:ext cx="10768951" cy="761623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1">
  <p:cSld name="Data 1"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51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5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" name="Google Shape;463;p51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5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5" name="Google Shape;465;p51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66" name="Google Shape;466;p5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67" name="Google Shape;467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ata 1">
  <p:cSld name="1_Data 1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5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52"/>
          <p:cNvSpPr txBox="1">
            <a:spLocks noGrp="1"/>
          </p:cNvSpPr>
          <p:nvPr>
            <p:ph type="title"/>
          </p:nvPr>
        </p:nvSpPr>
        <p:spPr>
          <a:xfrm>
            <a:off x="432000" y="310075"/>
            <a:ext cx="11404154" cy="426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5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5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3" name="Google Shape;473;p52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74" name="Google Shape;474;p5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75" name="Google Shape;475;p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476" name="Google Shape;476;p52"/>
          <p:cNvSpPr txBox="1">
            <a:spLocks noGrp="1"/>
          </p:cNvSpPr>
          <p:nvPr>
            <p:ph type="body" idx="1"/>
          </p:nvPr>
        </p:nvSpPr>
        <p:spPr>
          <a:xfrm>
            <a:off x="432001" y="7672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2">
  <p:cSld name="Data 2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p53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9" name="Google Shape;479;p5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" name="Google Shape;480;p5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1" name="Google Shape;481;p5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2" name="Google Shape;482;p53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83" name="Google Shape;483;p5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84" name="Google Shape;484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3">
  <p:cSld name="Data 3"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54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5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" name="Google Shape;488;p5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5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0" name="Google Shape;490;p54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91" name="Google Shape;491;p5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92" name="Google Shape;492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1_Headline and image with header 1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5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5" name="Google Shape;495;p55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4">
  <p:cSld name="2_Headline and image with header 4"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p5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8" name="Google Shape;498;p5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5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56"/>
          <p:cNvSpPr txBox="1"/>
          <p:nvPr/>
        </p:nvSpPr>
        <p:spPr>
          <a:xfrm>
            <a:off x="7202551" y="2249424"/>
            <a:ext cx="442814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2UP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ECF5444-DD33-9C60-EE5C-BAE130A1CBF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8166480-FB4D-C34C-807C-7BA7DD328F6E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735014"/>
            <a:ext cx="3564001" cy="4319711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6"/>
                </a:solidFill>
              </a:defRPr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267E27-DA97-0D46-9740-BF9E88C52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4F929AC-5E7A-1A4C-8427-F04E4C908E8F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6D0C676-28C4-BF14-7D49-3169DC1AAA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73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and image with header 4">
  <p:cSld name="Headline and image with header 4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5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5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4" name="Google Shape;504;p5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1_Quote large Centred"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p58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7" name="Google Shape;507;p5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8" name="Google Shape;508;p58"/>
          <p:cNvSpPr txBox="1">
            <a:spLocks noGrp="1"/>
          </p:cNvSpPr>
          <p:nvPr>
            <p:ph type="body" idx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58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10" name="Google Shape;510;p58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11" name="Google Shape;511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1_Heading, subhead, bullets one column"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59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4" name="Google Shape;514;p59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59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" name="Google Shape;516;p5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7" name="Google Shape;517;p5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5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519" name="Google Shape;519;p5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20" name="Google Shape;520;p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3_Title, subhead, two columns"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Google Shape;522;p60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3" name="Google Shape;523;p60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4" name="Google Shape;524;p60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" name="Google Shape;525;p6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6" name="Google Shape;526;p6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7" name="Google Shape;527;p6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528" name="Google Shape;528;p60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29" name="Google Shape;529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bg>
      <p:bgPr>
        <a:solidFill>
          <a:srgbClr val="F6F8F8"/>
        </a:solidFill>
        <a:effectLst/>
      </p:bgPr>
    </p:bg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p61"/>
          <p:cNvSpPr txBox="1">
            <a:spLocks noGrp="1"/>
          </p:cNvSpPr>
          <p:nvPr>
            <p:ph type="title"/>
          </p:nvPr>
        </p:nvSpPr>
        <p:spPr>
          <a:xfrm>
            <a:off x="420192" y="559859"/>
            <a:ext cx="10176000" cy="7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40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32" name="Google Shape;532;p6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3" name="Google Shape;533;p6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34" name="Google Shape;534;p61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35" name="Google Shape;535;p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Heading, subhead, bullets one column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g2e2e69b1e76_1_550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3" name="Google Shape;1023;g2e2e69b1e76_1_550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24" name="Google Shape;1024;g2e2e69b1e76_1_550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7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25" name="Google Shape;1025;g2e2e69b1e76_1_55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6" name="Google Shape;1026;g2e2e69b1e76_1_550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g2e2e69b1e76_1_55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028" name="Google Shape;1028;g2e2e69b1e76_1_55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29" name="Google Shape;1029;g2e2e69b1e76_1_5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title slide">
  <p:cSld name="Front title slide">
    <p:spTree>
      <p:nvGrpSpPr>
        <p:cNvPr id="1" name="Shape 1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Google Shape;1031;g2e2e69b1e76_1_559"/>
          <p:cNvSpPr/>
          <p:nvPr/>
        </p:nvSpPr>
        <p:spPr>
          <a:xfrm>
            <a:off x="-14636" y="-34893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2" name="Google Shape;1032;g2e2e69b1e76_1_559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30721" y="-508517"/>
            <a:ext cx="11318463" cy="8004876"/>
          </a:xfrm>
          <a:prstGeom prst="rect">
            <a:avLst/>
          </a:prstGeom>
          <a:noFill/>
          <a:ln>
            <a:noFill/>
          </a:ln>
        </p:spPr>
      </p:pic>
      <p:sp>
        <p:nvSpPr>
          <p:cNvPr id="1033" name="Google Shape;1033;g2e2e69b1e76_1_559"/>
          <p:cNvSpPr txBox="1">
            <a:spLocks noGrp="1"/>
          </p:cNvSpPr>
          <p:nvPr>
            <p:ph type="ctrTitle"/>
          </p:nvPr>
        </p:nvSpPr>
        <p:spPr>
          <a:xfrm>
            <a:off x="432000" y="1002268"/>
            <a:ext cx="4644000" cy="25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5467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34" name="Google Shape;1034;g2e2e69b1e76_1_559"/>
          <p:cNvSpPr txBox="1">
            <a:spLocks noGrp="1"/>
          </p:cNvSpPr>
          <p:nvPr>
            <p:ph type="subTitle" idx="1"/>
          </p:nvPr>
        </p:nvSpPr>
        <p:spPr>
          <a:xfrm>
            <a:off x="432000" y="3600000"/>
            <a:ext cx="7973100" cy="10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2100"/>
              <a:buNone/>
              <a:defRPr sz="2800">
                <a:solidFill>
                  <a:schemeClr val="accent6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 sz="1867"/>
            </a:lvl3pPr>
            <a:lvl4pPr lvl="3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035" name="Google Shape;1035;g2e2e69b1e76_1_55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300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036" name="Google Shape;1036;g2e2e69b1e76_1_559"/>
          <p:cNvSpPr txBox="1"/>
          <p:nvPr/>
        </p:nvSpPr>
        <p:spPr>
          <a:xfrm>
            <a:off x="3225115" y="601774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g2e2e69b1e76_1_559"/>
          <p:cNvSpPr txBox="1">
            <a:spLocks noGrp="1"/>
          </p:cNvSpPr>
          <p:nvPr>
            <p:ph type="body" idx="2"/>
          </p:nvPr>
        </p:nvSpPr>
        <p:spPr>
          <a:xfrm>
            <a:off x="432000" y="5760000"/>
            <a:ext cx="6259500" cy="48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 sz="2400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500"/>
              <a:buNone/>
              <a:defRPr>
                <a:solidFill>
                  <a:schemeClr val="accent2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38" name="Google Shape;1038;g2e2e69b1e76_1_559"/>
          <p:cNvSpPr txBox="1"/>
          <p:nvPr/>
        </p:nvSpPr>
        <p:spPr>
          <a:xfrm>
            <a:off x="9233452" y="5486400"/>
            <a:ext cx="1848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9" name="Google Shape;1039;g2e2e69b1e76_1_559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51045" y="364426"/>
            <a:ext cx="1208836" cy="9796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reaker Heading1-Blue-DarkBlueA">
  <p:cSld name="8_Breaker Heading1-Blue-DarkBlueA">
    <p:spTree>
      <p:nvGrpSpPr>
        <p:cNvPr id="1" name="Shape 1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Google Shape;1041;g2e2e69b1e76_1_569"/>
          <p:cNvSpPr/>
          <p:nvPr/>
        </p:nvSpPr>
        <p:spPr>
          <a:xfrm>
            <a:off x="-14636" y="-34893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42" name="Google Shape;1042;g2e2e69b1e76_1_569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2265" y="-122410"/>
            <a:ext cx="12498700" cy="7030517"/>
          </a:xfrm>
          <a:prstGeom prst="rect">
            <a:avLst/>
          </a:prstGeom>
          <a:noFill/>
          <a:ln>
            <a:noFill/>
          </a:ln>
        </p:spPr>
      </p:pic>
      <p:sp>
        <p:nvSpPr>
          <p:cNvPr id="1043" name="Google Shape;1043;g2e2e69b1e76_1_569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g2e2e69b1e76_1_569"/>
          <p:cNvSpPr txBox="1">
            <a:spLocks noGrp="1"/>
          </p:cNvSpPr>
          <p:nvPr>
            <p:ph type="body" idx="2"/>
          </p:nvPr>
        </p:nvSpPr>
        <p:spPr>
          <a:xfrm>
            <a:off x="891916" y="1917291"/>
            <a:ext cx="5685600" cy="1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45" name="Google Shape;1045;g2e2e69b1e76_1_56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1_Title, subhead, two columns">
    <p:spTree>
      <p:nvGrpSpPr>
        <p:cNvPr id="1" name="Shape 1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" name="Google Shape;1047;g2e2e69b1e76_1_575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" name="Google Shape;1048;g2e2e69b1e76_1_575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49" name="Google Shape;1049;g2e2e69b1e76_1_575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50" name="Google Shape;1050;g2e2e69b1e76_1_57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1" name="Google Shape;1051;g2e2e69b1e76_1_57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2" name="Google Shape;1052;g2e2e69b1e76_1_57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053" name="Google Shape;1053;g2e2e69b1e76_1_575"/>
          <p:cNvCxnSpPr/>
          <p:nvPr/>
        </p:nvCxnSpPr>
        <p:spPr>
          <a:xfrm>
            <a:off x="408789" y="6336000"/>
            <a:ext cx="113991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54" name="Google Shape;1054;g2e2e69b1e76_1_5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4UP +Intro">
  <p:cSld name="TEXT Grid boxes, Titles 4UP +Intro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Google Shape;1056;g2e2e69b1e76_1_584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7" name="Google Shape;1057;g2e2e69b1e76_1_584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" name="Google Shape;1058;g2e2e69b1e76_1_584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9" name="Google Shape;1059;g2e2e69b1e76_1_584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0" name="Google Shape;1060;g2e2e69b1e76_1_584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g2e2e69b1e76_1_584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" name="Google Shape;1062;g2e2e69b1e76_1_584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63" name="Google Shape;1063;g2e2e69b1e76_1_584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4" name="Google Shape;1064;g2e2e69b1e76_1_584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65" name="Google Shape;1065;g2e2e69b1e76_1_584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6" name="Google Shape;1066;g2e2e69b1e76_1_584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67" name="Google Shape;1067;g2e2e69b1e76_1_584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8" name="Google Shape;1068;g2e2e69b1e76_1_584"/>
          <p:cNvSpPr txBox="1">
            <a:spLocks noGrp="1"/>
          </p:cNvSpPr>
          <p:nvPr>
            <p:ph type="body" idx="5"/>
          </p:nvPr>
        </p:nvSpPr>
        <p:spPr>
          <a:xfrm>
            <a:off x="432000" y="1393015"/>
            <a:ext cx="3564000" cy="48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69" name="Google Shape;1069;g2e2e69b1e76_1_58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70" name="Google Shape;1070;g2e2e69b1e76_1_584"/>
          <p:cNvSpPr txBox="1">
            <a:spLocks noGrp="1"/>
          </p:cNvSpPr>
          <p:nvPr>
            <p:ph type="body" idx="6"/>
          </p:nvPr>
        </p:nvSpPr>
        <p:spPr>
          <a:xfrm>
            <a:off x="4418428" y="1393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71" name="Google Shape;1071;g2e2e69b1e76_1_584"/>
          <p:cNvSpPr txBox="1">
            <a:spLocks noGrp="1"/>
          </p:cNvSpPr>
          <p:nvPr>
            <p:ph type="body" idx="7"/>
          </p:nvPr>
        </p:nvSpPr>
        <p:spPr>
          <a:xfrm>
            <a:off x="8372591" y="1394399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72" name="Google Shape;1072;g2e2e69b1e76_1_584"/>
          <p:cNvSpPr txBox="1">
            <a:spLocks noGrp="1"/>
          </p:cNvSpPr>
          <p:nvPr>
            <p:ph type="body" idx="8"/>
          </p:nvPr>
        </p:nvSpPr>
        <p:spPr>
          <a:xfrm>
            <a:off x="4418428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g2e2e69b1e76_1_584"/>
          <p:cNvSpPr txBox="1">
            <a:spLocks noGrp="1"/>
          </p:cNvSpPr>
          <p:nvPr>
            <p:ph type="body" idx="9"/>
          </p:nvPr>
        </p:nvSpPr>
        <p:spPr>
          <a:xfrm>
            <a:off x="8380155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074" name="Google Shape;1074;g2e2e69b1e76_1_58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75" name="Google Shape;1075;g2e2e69b1e76_1_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A3FC528-9065-C94F-99DF-349AA62E3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A2AC99-8B06-B44A-BCC3-DEDF573C1400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4712B60-6C80-0125-1B04-001787232D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49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6UP Grey">
  <p:cSld name="ICON Grid Boxes 6UP Grey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g2e2e69b1e76_1_605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78" name="Google Shape;1078;g2e2e69b1e76_1_60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" name="Google Shape;1079;g2e2e69b1e76_1_60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0" name="Google Shape;1080;g2e2e69b1e76_1_605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1" name="Google Shape;1081;g2e2e69b1e76_1_605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82" name="Google Shape;1082;g2e2e69b1e76_1_605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3" name="Google Shape;1083;g2e2e69b1e76_1_605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84" name="Google Shape;1084;g2e2e69b1e76_1_605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" name="Google Shape;1085;g2e2e69b1e76_1_605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86" name="Google Shape;1086;g2e2e69b1e76_1_605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" name="Google Shape;1087;g2e2e69b1e76_1_605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8" name="Google Shape;1088;g2e2e69b1e76_1_605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89" name="Google Shape;1089;g2e2e69b1e76_1_605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0" name="Google Shape;1090;g2e2e69b1e76_1_605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91" name="Google Shape;1091;g2e2e69b1e76_1_605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2" name="Google Shape;1092;g2e2e69b1e76_1_60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093" name="Google Shape;1093;g2e2e69b1e76_1_60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94" name="Google Shape;1094;g2e2e69b1e76_1_6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g2e2e69b1e76_1_624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7" name="Google Shape;1097;g2e2e69b1e76_1_62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8" name="Google Shape;1098;g2e2e69b1e76_1_624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9" name="Google Shape;1099;g2e2e69b1e76_1_624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1100" name="Google Shape;1100;g2e2e69b1e76_1_6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eading, content, basic text one col">
  <p:cSld name="Heading, content, basic text one col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g2e2e69b1e76_1_630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3" name="Google Shape;1103;g2e2e69b1e76_1_630"/>
          <p:cNvSpPr txBox="1">
            <a:spLocks noGrp="1"/>
          </p:cNvSpPr>
          <p:nvPr>
            <p:ph type="title"/>
          </p:nvPr>
        </p:nvSpPr>
        <p:spPr>
          <a:xfrm>
            <a:off x="347413" y="3166643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g2e2e69b1e76_1_630"/>
          <p:cNvSpPr txBox="1">
            <a:spLocks noGrp="1"/>
          </p:cNvSpPr>
          <p:nvPr>
            <p:ph type="body" idx="1"/>
          </p:nvPr>
        </p:nvSpPr>
        <p:spPr>
          <a:xfrm>
            <a:off x="412708" y="2106000"/>
            <a:ext cx="7632000" cy="402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2pPr>
            <a:lvl3pPr marL="1371600" lvl="2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05" name="Google Shape;1105;g2e2e69b1e76_1_63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6" name="Google Shape;1106;g2e2e69b1e76_1_630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07" name="Google Shape;1107;g2e2e69b1e76_1_63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ample-Icons-Layout">
  <p:cSld name="Sample-Icons-Layout"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Google Shape;1109;g2e2e69b1e76_1_63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10" name="Google Shape;1110;g2e2e69b1e76_1_63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1" name="Google Shape;1111;g2e2e69b1e76_1_637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12" name="Google Shape;1112;g2e2e69b1e76_1_63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" name="Google Shape;1113;g2e2e69b1e76_1_637"/>
          <p:cNvSpPr/>
          <p:nvPr/>
        </p:nvSpPr>
        <p:spPr>
          <a:xfrm>
            <a:off x="383057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" name="Google Shape;1114;g2e2e69b1e76_1_637"/>
          <p:cNvSpPr/>
          <p:nvPr/>
        </p:nvSpPr>
        <p:spPr>
          <a:xfrm>
            <a:off x="383057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" name="Google Shape;1115;g2e2e69b1e76_1_637"/>
          <p:cNvSpPr/>
          <p:nvPr/>
        </p:nvSpPr>
        <p:spPr>
          <a:xfrm>
            <a:off x="1534525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6" name="Google Shape;1116;g2e2e69b1e76_1_637"/>
          <p:cNvSpPr/>
          <p:nvPr/>
        </p:nvSpPr>
        <p:spPr>
          <a:xfrm>
            <a:off x="2685992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g2e2e69b1e76_1_637"/>
          <p:cNvSpPr/>
          <p:nvPr/>
        </p:nvSpPr>
        <p:spPr>
          <a:xfrm>
            <a:off x="3837459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8" name="Google Shape;1118;g2e2e69b1e76_1_637"/>
          <p:cNvSpPr/>
          <p:nvPr/>
        </p:nvSpPr>
        <p:spPr>
          <a:xfrm>
            <a:off x="4988927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" name="Google Shape;1119;g2e2e69b1e76_1_637"/>
          <p:cNvSpPr/>
          <p:nvPr/>
        </p:nvSpPr>
        <p:spPr>
          <a:xfrm>
            <a:off x="6140393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" name="Google Shape;1120;g2e2e69b1e76_1_637"/>
          <p:cNvSpPr/>
          <p:nvPr/>
        </p:nvSpPr>
        <p:spPr>
          <a:xfrm>
            <a:off x="7291860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" name="Google Shape;1121;g2e2e69b1e76_1_637"/>
          <p:cNvSpPr/>
          <p:nvPr/>
        </p:nvSpPr>
        <p:spPr>
          <a:xfrm>
            <a:off x="8443327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" name="Google Shape;1122;g2e2e69b1e76_1_637"/>
          <p:cNvSpPr/>
          <p:nvPr/>
        </p:nvSpPr>
        <p:spPr>
          <a:xfrm>
            <a:off x="9594795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" name="Google Shape;1123;g2e2e69b1e76_1_637"/>
          <p:cNvSpPr/>
          <p:nvPr/>
        </p:nvSpPr>
        <p:spPr>
          <a:xfrm>
            <a:off x="10746259" y="1811216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" name="Google Shape;1124;g2e2e69b1e76_1_637"/>
          <p:cNvSpPr/>
          <p:nvPr/>
        </p:nvSpPr>
        <p:spPr>
          <a:xfrm>
            <a:off x="1534525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" name="Google Shape;1125;g2e2e69b1e76_1_637"/>
          <p:cNvSpPr/>
          <p:nvPr/>
        </p:nvSpPr>
        <p:spPr>
          <a:xfrm>
            <a:off x="2685992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" name="Google Shape;1126;g2e2e69b1e76_1_637"/>
          <p:cNvSpPr/>
          <p:nvPr/>
        </p:nvSpPr>
        <p:spPr>
          <a:xfrm>
            <a:off x="3837459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" name="Google Shape;1127;g2e2e69b1e76_1_637"/>
          <p:cNvSpPr/>
          <p:nvPr/>
        </p:nvSpPr>
        <p:spPr>
          <a:xfrm>
            <a:off x="4988927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" name="Google Shape;1128;g2e2e69b1e76_1_637"/>
          <p:cNvSpPr/>
          <p:nvPr/>
        </p:nvSpPr>
        <p:spPr>
          <a:xfrm>
            <a:off x="6140393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" name="Google Shape;1129;g2e2e69b1e76_1_637"/>
          <p:cNvSpPr/>
          <p:nvPr/>
        </p:nvSpPr>
        <p:spPr>
          <a:xfrm>
            <a:off x="7291860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0" name="Google Shape;1130;g2e2e69b1e76_1_637"/>
          <p:cNvSpPr/>
          <p:nvPr/>
        </p:nvSpPr>
        <p:spPr>
          <a:xfrm>
            <a:off x="8443327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" name="Google Shape;1131;g2e2e69b1e76_1_637"/>
          <p:cNvSpPr/>
          <p:nvPr/>
        </p:nvSpPr>
        <p:spPr>
          <a:xfrm>
            <a:off x="9594795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" name="Google Shape;1132;g2e2e69b1e76_1_637"/>
          <p:cNvSpPr/>
          <p:nvPr/>
        </p:nvSpPr>
        <p:spPr>
          <a:xfrm>
            <a:off x="10746259" y="3175160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3" name="Google Shape;1133;g2e2e69b1e76_1_637"/>
          <p:cNvSpPr/>
          <p:nvPr/>
        </p:nvSpPr>
        <p:spPr>
          <a:xfrm>
            <a:off x="383057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" name="Google Shape;1134;g2e2e69b1e76_1_637"/>
          <p:cNvSpPr/>
          <p:nvPr/>
        </p:nvSpPr>
        <p:spPr>
          <a:xfrm>
            <a:off x="1534525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" name="Google Shape;1135;g2e2e69b1e76_1_637"/>
          <p:cNvSpPr/>
          <p:nvPr/>
        </p:nvSpPr>
        <p:spPr>
          <a:xfrm>
            <a:off x="2685992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" name="Google Shape;1136;g2e2e69b1e76_1_637"/>
          <p:cNvSpPr/>
          <p:nvPr/>
        </p:nvSpPr>
        <p:spPr>
          <a:xfrm>
            <a:off x="3837459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" name="Google Shape;1137;g2e2e69b1e76_1_637"/>
          <p:cNvSpPr/>
          <p:nvPr/>
        </p:nvSpPr>
        <p:spPr>
          <a:xfrm>
            <a:off x="4988927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" name="Google Shape;1138;g2e2e69b1e76_1_637"/>
          <p:cNvSpPr/>
          <p:nvPr/>
        </p:nvSpPr>
        <p:spPr>
          <a:xfrm>
            <a:off x="6140393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" name="Google Shape;1139;g2e2e69b1e76_1_637"/>
          <p:cNvSpPr/>
          <p:nvPr/>
        </p:nvSpPr>
        <p:spPr>
          <a:xfrm>
            <a:off x="7291860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" name="Google Shape;1140;g2e2e69b1e76_1_637"/>
          <p:cNvSpPr/>
          <p:nvPr/>
        </p:nvSpPr>
        <p:spPr>
          <a:xfrm>
            <a:off x="8443327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" name="Google Shape;1141;g2e2e69b1e76_1_637"/>
          <p:cNvSpPr/>
          <p:nvPr/>
        </p:nvSpPr>
        <p:spPr>
          <a:xfrm>
            <a:off x="9594795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2" name="Google Shape;1142;g2e2e69b1e76_1_637"/>
          <p:cNvSpPr/>
          <p:nvPr/>
        </p:nvSpPr>
        <p:spPr>
          <a:xfrm>
            <a:off x="10746259" y="4539104"/>
            <a:ext cx="10473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43" name="Google Shape;1143;g2e2e69b1e76_1_6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ample-Icons-Layout">
  <p:cSld name="1_Sample-Icons-Layout">
    <p:spTree>
      <p:nvGrpSpPr>
        <p:cNvPr id="1" name="Shape 1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Google Shape;1145;g2e2e69b1e76_1_673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6" name="Google Shape;1146;g2e2e69b1e76_1_67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7" name="Google Shape;1147;g2e2e69b1e76_1_673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48" name="Google Shape;1148;g2e2e69b1e76_1_67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g2e2e69b1e76_1_673"/>
          <p:cNvSpPr/>
          <p:nvPr/>
        </p:nvSpPr>
        <p:spPr>
          <a:xfrm>
            <a:off x="383057" y="3175160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" name="Google Shape;1150;g2e2e69b1e76_1_673"/>
          <p:cNvSpPr/>
          <p:nvPr/>
        </p:nvSpPr>
        <p:spPr>
          <a:xfrm>
            <a:off x="1534525" y="3175160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1" name="Google Shape;1151;g2e2e69b1e76_1_673"/>
          <p:cNvSpPr/>
          <p:nvPr/>
        </p:nvSpPr>
        <p:spPr>
          <a:xfrm>
            <a:off x="2685992" y="3175160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2" name="Google Shape;1152;g2e2e69b1e76_1_673"/>
          <p:cNvSpPr/>
          <p:nvPr/>
        </p:nvSpPr>
        <p:spPr>
          <a:xfrm>
            <a:off x="3837459" y="3175160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" name="Google Shape;1153;g2e2e69b1e76_1_673"/>
          <p:cNvSpPr/>
          <p:nvPr/>
        </p:nvSpPr>
        <p:spPr>
          <a:xfrm>
            <a:off x="383057" y="4544899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4" name="Google Shape;1154;g2e2e69b1e76_1_673"/>
          <p:cNvSpPr/>
          <p:nvPr/>
        </p:nvSpPr>
        <p:spPr>
          <a:xfrm>
            <a:off x="1534525" y="4544899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5" name="Google Shape;1155;g2e2e69b1e76_1_673"/>
          <p:cNvSpPr/>
          <p:nvPr/>
        </p:nvSpPr>
        <p:spPr>
          <a:xfrm>
            <a:off x="2685992" y="4544899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6" name="Google Shape;1156;g2e2e69b1e76_1_673"/>
          <p:cNvSpPr/>
          <p:nvPr/>
        </p:nvSpPr>
        <p:spPr>
          <a:xfrm>
            <a:off x="3837459" y="4544899"/>
            <a:ext cx="10473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7" name="Google Shape;1157;g2e2e69b1e76_1_673"/>
          <p:cNvSpPr/>
          <p:nvPr/>
        </p:nvSpPr>
        <p:spPr>
          <a:xfrm>
            <a:off x="5122911" y="3175160"/>
            <a:ext cx="19917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8" name="Google Shape;1158;g2e2e69b1e76_1_673"/>
          <p:cNvSpPr/>
          <p:nvPr/>
        </p:nvSpPr>
        <p:spPr>
          <a:xfrm>
            <a:off x="7474153" y="3175160"/>
            <a:ext cx="19917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9" name="Google Shape;1159;g2e2e69b1e76_1_673"/>
          <p:cNvSpPr/>
          <p:nvPr/>
        </p:nvSpPr>
        <p:spPr>
          <a:xfrm>
            <a:off x="9825395" y="3175160"/>
            <a:ext cx="19917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60" name="Google Shape;1160;g2e2e69b1e76_1_6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  <p:sp>
        <p:nvSpPr>
          <p:cNvPr id="1161" name="Google Shape;1161;g2e2e69b1e76_1_67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wo columns">
  <p:cSld name="2_Title, subhead, two columns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Google Shape;1163;g2e2e69b1e76_1_691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g2e2e69b1e76_1_691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65" name="Google Shape;1165;g2e2e69b1e76_1_691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g2e2e69b1e76_1_69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g2e2e69b1e76_1_691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g2e2e69b1e76_1_69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169" name="Google Shape;1169;g2e2e69b1e76_1_691"/>
          <p:cNvCxnSpPr/>
          <p:nvPr/>
        </p:nvCxnSpPr>
        <p:spPr>
          <a:xfrm>
            <a:off x="408789" y="6336000"/>
            <a:ext cx="113991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70" name="Google Shape;1170;g2e2e69b1e76_1_6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hree columns">
  <p:cSld name="2_Title, subhead, Three columns">
    <p:spTree>
      <p:nvGrpSpPr>
        <p:cNvPr id="1" name="Shape 1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" name="Google Shape;1172;g2e2e69b1e76_1_700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3" name="Google Shape;1173;g2e2e69b1e76_1_700"/>
          <p:cNvSpPr txBox="1">
            <a:spLocks noGrp="1"/>
          </p:cNvSpPr>
          <p:nvPr>
            <p:ph type="body"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74" name="Google Shape;1174;g2e2e69b1e76_1_700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75" name="Google Shape;1175;g2e2e69b1e76_1_70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6" name="Google Shape;1176;g2e2e69b1e76_1_700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g2e2e69b1e76_1_70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178" name="Google Shape;1178;g2e2e69b1e76_1_700"/>
          <p:cNvCxnSpPr/>
          <p:nvPr/>
        </p:nvCxnSpPr>
        <p:spPr>
          <a:xfrm>
            <a:off x="432000" y="63487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79" name="Google Shape;1179;g2e2e69b1e76_1_7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slide with image A">
  <p:cSld name="Headline slide with image A"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Google Shape;1181;g2e2e69b1e76_1_709"/>
          <p:cNvSpPr/>
          <p:nvPr/>
        </p:nvSpPr>
        <p:spPr>
          <a:xfrm>
            <a:off x="0" y="0"/>
            <a:ext cx="60960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" name="Google Shape;1182;g2e2e69b1e76_1_709"/>
          <p:cNvSpPr txBox="1">
            <a:spLocks noGrp="1"/>
          </p:cNvSpPr>
          <p:nvPr>
            <p:ph type="title"/>
          </p:nvPr>
        </p:nvSpPr>
        <p:spPr>
          <a:xfrm>
            <a:off x="354093" y="1647568"/>
            <a:ext cx="4909500" cy="313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g2e2e69b1e76_1_70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" name="Google Shape;1184;g2e2e69b1e76_1_70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5" name="Google Shape;1185;g2e2e69b1e76_1_70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Quote large Centred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" name="Google Shape;1187;g2e2e69b1e76_1_715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8" name="Google Shape;1188;g2e2e69b1e76_1_71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9" name="Google Shape;1189;g2e2e69b1e76_1_715"/>
          <p:cNvSpPr txBox="1">
            <a:spLocks noGrp="1"/>
          </p:cNvSpPr>
          <p:nvPr>
            <p:ph type="body" idx="1"/>
          </p:nvPr>
        </p:nvSpPr>
        <p:spPr>
          <a:xfrm>
            <a:off x="1214367" y="1180299"/>
            <a:ext cx="9811200" cy="2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0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90" name="Google Shape;1190;g2e2e69b1e76_1_715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191" name="Google Shape;1191;g2e2e69b1e76_1_715"/>
          <p:cNvCxnSpPr/>
          <p:nvPr/>
        </p:nvCxnSpPr>
        <p:spPr>
          <a:xfrm>
            <a:off x="432000" y="6336000"/>
            <a:ext cx="113853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92" name="Google Shape;1192;g2e2e69b1e76_1_7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Grey">
  <p:cSld name="ICON Grid Boxes 4UP Grey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g2e2e69b1e76_1_722"/>
          <p:cNvSpPr txBox="1">
            <a:spLocks noGrp="1"/>
          </p:cNvSpPr>
          <p:nvPr>
            <p:ph type="body" idx="1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95" name="Google Shape;1195;g2e2e69b1e76_1_72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6" name="Google Shape;1196;g2e2e69b1e76_1_722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7" name="Google Shape;1197;g2e2e69b1e76_1_722"/>
          <p:cNvSpPr/>
          <p:nvPr/>
        </p:nvSpPr>
        <p:spPr>
          <a:xfrm>
            <a:off x="227772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8" name="Google Shape;1198;g2e2e69b1e76_1_722"/>
          <p:cNvSpPr txBox="1">
            <a:spLocks noGrp="1"/>
          </p:cNvSpPr>
          <p:nvPr>
            <p:ph type="body" idx="2"/>
          </p:nvPr>
        </p:nvSpPr>
        <p:spPr>
          <a:xfrm>
            <a:off x="6231884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99" name="Google Shape;1199;g2e2e69b1e76_1_722"/>
          <p:cNvSpPr/>
          <p:nvPr/>
        </p:nvSpPr>
        <p:spPr>
          <a:xfrm>
            <a:off x="6231884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g2e2e69b1e76_1_722"/>
          <p:cNvSpPr txBox="1">
            <a:spLocks noGrp="1"/>
          </p:cNvSpPr>
          <p:nvPr>
            <p:ph type="body" idx="3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01" name="Google Shape;1201;g2e2e69b1e76_1_722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g2e2e69b1e76_1_722"/>
          <p:cNvSpPr/>
          <p:nvPr/>
        </p:nvSpPr>
        <p:spPr>
          <a:xfrm>
            <a:off x="2277721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g2e2e69b1e76_1_722"/>
          <p:cNvSpPr txBox="1">
            <a:spLocks noGrp="1"/>
          </p:cNvSpPr>
          <p:nvPr>
            <p:ph type="body" idx="4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04" name="Google Shape;1204;g2e2e69b1e76_1_722"/>
          <p:cNvSpPr/>
          <p:nvPr/>
        </p:nvSpPr>
        <p:spPr>
          <a:xfrm>
            <a:off x="6239447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g2e2e69b1e76_1_72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206" name="Google Shape;1206;g2e2e69b1e76_1_7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07" name="Google Shape;1207;g2e2e69b1e76_1_722"/>
          <p:cNvCxnSpPr/>
          <p:nvPr/>
        </p:nvCxnSpPr>
        <p:spPr>
          <a:xfrm>
            <a:off x="432000" y="6336000"/>
            <a:ext cx="113853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4UP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A897845-DFE8-7140-BE24-7AD33E02F2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E206611-9F04-2C46-95B1-573726492E29}"/>
              </a:ext>
            </a:extLst>
          </p:cNvPr>
          <p:cNvSpPr/>
          <p:nvPr userDrawn="1"/>
        </p:nvSpPr>
        <p:spPr>
          <a:xfrm>
            <a:off x="4310428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4DF866-0267-6D4B-8CF4-FAFA97285D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C737232C-EBE9-2647-917F-C7C76B087CA4}"/>
              </a:ext>
            </a:extLst>
          </p:cNvPr>
          <p:cNvSpPr/>
          <p:nvPr userDrawn="1"/>
        </p:nvSpPr>
        <p:spPr>
          <a:xfrm>
            <a:off x="8264591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8ADAB78-EE5F-B741-8763-DEC022B42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E29E7FE3-94A7-274E-9C79-62D4A777C7A5}"/>
              </a:ext>
            </a:extLst>
          </p:cNvPr>
          <p:cNvSpPr/>
          <p:nvPr userDrawn="1"/>
        </p:nvSpPr>
        <p:spPr>
          <a:xfrm>
            <a:off x="4310428" y="384628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27DCFD9-112E-A945-955D-F67D14142C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70713629-27C4-A749-B40D-6E3D13CBC59F}"/>
              </a:ext>
            </a:extLst>
          </p:cNvPr>
          <p:cNvSpPr/>
          <p:nvPr userDrawn="1"/>
        </p:nvSpPr>
        <p:spPr>
          <a:xfrm>
            <a:off x="8272154" y="3849215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1D89516-E743-9149-8E82-C8FD33FB9E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46538-6FA9-4F4C-86B3-9F8268B46A71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62ACBA56-8EF4-494B-AB68-12ECC4D0812F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285014"/>
            <a:ext cx="3564001" cy="4769711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6"/>
                </a:solidFill>
              </a:defRPr>
            </a:lvl1pPr>
          </a:lstStyle>
          <a:p>
            <a:r>
              <a:rPr lang="en-GB"/>
              <a:t>Intro summary text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55FB54-F5EA-C613-D5F4-F3C0063B3E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2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Grey">
  <p:cSld name="ICON Grid Boxes 2UP Grey">
    <p:spTree>
      <p:nvGrpSpPr>
        <p:cNvPr id="1" name="Shape 1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9" name="Google Shape;1209;g2e2e69b1e76_1_737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g2e2e69b1e76_1_73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g2e2e69b1e76_1_737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g2e2e69b1e76_1_737"/>
          <p:cNvSpPr txBox="1">
            <a:spLocks noGrp="1"/>
          </p:cNvSpPr>
          <p:nvPr>
            <p:ph type="body" idx="1"/>
          </p:nvPr>
        </p:nvSpPr>
        <p:spPr>
          <a:xfrm>
            <a:off x="432000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13" name="Google Shape;1213;g2e2e69b1e76_1_737"/>
          <p:cNvSpPr/>
          <p:nvPr/>
        </p:nvSpPr>
        <p:spPr>
          <a:xfrm>
            <a:off x="432000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g2e2e69b1e76_1_737"/>
          <p:cNvSpPr txBox="1">
            <a:spLocks noGrp="1"/>
          </p:cNvSpPr>
          <p:nvPr>
            <p:ph type="body" idx="2"/>
          </p:nvPr>
        </p:nvSpPr>
        <p:spPr>
          <a:xfrm>
            <a:off x="4324379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15" name="Google Shape;1215;g2e2e69b1e76_1_737"/>
          <p:cNvSpPr/>
          <p:nvPr/>
        </p:nvSpPr>
        <p:spPr>
          <a:xfrm>
            <a:off x="4324379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6" name="Google Shape;1216;g2e2e69b1e76_1_737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7" name="Google Shape;1217;g2e2e69b1e76_1_73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218" name="Google Shape;1218;g2e2e69b1e76_1_7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19" name="Google Shape;1219;g2e2e69b1e76_1_737"/>
          <p:cNvCxnSpPr/>
          <p:nvPr/>
        </p:nvCxnSpPr>
        <p:spPr>
          <a:xfrm>
            <a:off x="432000" y="6336000"/>
            <a:ext cx="113853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, Titles 4UP Grey">
  <p:cSld name="TEXT Grid, Titles 4UP Grey">
    <p:spTree>
      <p:nvGrpSpPr>
        <p:cNvPr id="1" name="Shape 1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" name="Google Shape;1221;g2e2e69b1e76_1_749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2" name="Google Shape;1222;g2e2e69b1e76_1_749"/>
          <p:cNvSpPr/>
          <p:nvPr/>
        </p:nvSpPr>
        <p:spPr>
          <a:xfrm>
            <a:off x="43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3" name="Google Shape;1223;g2e2e69b1e76_1_749"/>
          <p:cNvSpPr txBox="1">
            <a:spLocks noGrp="1"/>
          </p:cNvSpPr>
          <p:nvPr>
            <p:ph type="body" idx="1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24" name="Google Shape;1224;g2e2e69b1e76_1_74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" name="Google Shape;1225;g2e2e69b1e76_1_74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6" name="Google Shape;1226;g2e2e69b1e76_1_749"/>
          <p:cNvSpPr txBox="1">
            <a:spLocks noGrp="1"/>
          </p:cNvSpPr>
          <p:nvPr>
            <p:ph type="body" idx="2"/>
          </p:nvPr>
        </p:nvSpPr>
        <p:spPr>
          <a:xfrm>
            <a:off x="4392000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27" name="Google Shape;1227;g2e2e69b1e76_1_749"/>
          <p:cNvSpPr/>
          <p:nvPr/>
        </p:nvSpPr>
        <p:spPr>
          <a:xfrm>
            <a:off x="439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8" name="Google Shape;1228;g2e2e69b1e76_1_749"/>
          <p:cNvSpPr txBox="1">
            <a:spLocks noGrp="1"/>
          </p:cNvSpPr>
          <p:nvPr>
            <p:ph type="body" idx="3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29" name="Google Shape;1229;g2e2e69b1e76_1_74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0" name="Google Shape;1230;g2e2e69b1e76_1_749"/>
          <p:cNvSpPr/>
          <p:nvPr/>
        </p:nvSpPr>
        <p:spPr>
          <a:xfrm>
            <a:off x="43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1" name="Google Shape;1231;g2e2e69b1e76_1_749"/>
          <p:cNvSpPr txBox="1">
            <a:spLocks noGrp="1"/>
          </p:cNvSpPr>
          <p:nvPr>
            <p:ph type="body" idx="4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32" name="Google Shape;1232;g2e2e69b1e76_1_749"/>
          <p:cNvSpPr/>
          <p:nvPr/>
        </p:nvSpPr>
        <p:spPr>
          <a:xfrm>
            <a:off x="439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g2e2e69b1e76_1_74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34" name="Google Shape;1234;g2e2e69b1e76_1_749"/>
          <p:cNvSpPr txBox="1">
            <a:spLocks noGrp="1"/>
          </p:cNvSpPr>
          <p:nvPr>
            <p:ph type="body" idx="5"/>
          </p:nvPr>
        </p:nvSpPr>
        <p:spPr>
          <a:xfrm>
            <a:off x="540000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35" name="Google Shape;1235;g2e2e69b1e76_1_749"/>
          <p:cNvSpPr txBox="1">
            <a:spLocks noGrp="1"/>
          </p:cNvSpPr>
          <p:nvPr>
            <p:ph type="body" idx="6"/>
          </p:nvPr>
        </p:nvSpPr>
        <p:spPr>
          <a:xfrm>
            <a:off x="4500000" y="1302463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36" name="Google Shape;1236;g2e2e69b1e76_1_749"/>
          <p:cNvSpPr txBox="1">
            <a:spLocks noGrp="1"/>
          </p:cNvSpPr>
          <p:nvPr>
            <p:ph type="body" idx="7"/>
          </p:nvPr>
        </p:nvSpPr>
        <p:spPr>
          <a:xfrm>
            <a:off x="54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g2e2e69b1e76_1_749"/>
          <p:cNvSpPr txBox="1">
            <a:spLocks noGrp="1"/>
          </p:cNvSpPr>
          <p:nvPr>
            <p:ph type="body" idx="8"/>
          </p:nvPr>
        </p:nvSpPr>
        <p:spPr>
          <a:xfrm>
            <a:off x="450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238" name="Google Shape;1238;g2e2e69b1e76_1_74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39" name="Google Shape;1239;g2e2e69b1e76_1_7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with Intro">
  <p:cSld name="Icon Grid Boxes 2UP with Intro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g2e2e69b1e76_1_769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2" name="Google Shape;1242;g2e2e69b1e76_1_76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3" name="Google Shape;1243;g2e2e69b1e76_1_76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4" name="Google Shape;1244;g2e2e69b1e76_1_769"/>
          <p:cNvSpPr txBox="1">
            <a:spLocks noGrp="1"/>
          </p:cNvSpPr>
          <p:nvPr>
            <p:ph type="body" idx="1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45" name="Google Shape;1245;g2e2e69b1e76_1_769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6" name="Google Shape;1246;g2e2e69b1e76_1_769"/>
          <p:cNvSpPr txBox="1">
            <a:spLocks noGrp="1"/>
          </p:cNvSpPr>
          <p:nvPr>
            <p:ph type="body" idx="2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47" name="Google Shape;1247;g2e2e69b1e76_1_769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8" name="Google Shape;1248;g2e2e69b1e76_1_76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9" name="Google Shape;1249;g2e2e69b1e76_1_769"/>
          <p:cNvSpPr txBox="1">
            <a:spLocks noGrp="1"/>
          </p:cNvSpPr>
          <p:nvPr>
            <p:ph type="body" idx="3"/>
          </p:nvPr>
        </p:nvSpPr>
        <p:spPr>
          <a:xfrm>
            <a:off x="432000" y="1735015"/>
            <a:ext cx="3564000" cy="431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g2e2e69b1e76_1_76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51" name="Google Shape;1251;g2e2e69b1e76_1_76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52" name="Google Shape;1252;g2e2e69b1e76_1_7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3UP">
  <p:cSld name="Icon Grid Boxes 3UP"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g2e2e69b1e76_1_782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55" name="Google Shape;1255;g2e2e69b1e76_1_78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6" name="Google Shape;1256;g2e2e69b1e76_1_782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7" name="Google Shape;1257;g2e2e69b1e76_1_782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8" name="Google Shape;1258;g2e2e69b1e76_1_782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59" name="Google Shape;1259;g2e2e69b1e76_1_782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0" name="Google Shape;1260;g2e2e69b1e76_1_782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61" name="Google Shape;1261;g2e2e69b1e76_1_782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2" name="Google Shape;1262;g2e2e69b1e76_1_782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3" name="Google Shape;1263;g2e2e69b1e76_1_78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64" name="Google Shape;1264;g2e2e69b1e76_1_78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65" name="Google Shape;1265;g2e2e69b1e76_1_7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with Intro">
  <p:cSld name="ICON Grid Boxes 4UP with Intro">
    <p:spTree>
      <p:nvGrpSpPr>
        <p:cNvPr id="1" name="Shape 1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" name="Google Shape;1267;g2e2e69b1e76_1_79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8" name="Google Shape;1268;g2e2e69b1e76_1_79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9" name="Google Shape;1269;g2e2e69b1e76_1_795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0" name="Google Shape;1270;g2e2e69b1e76_1_795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g2e2e69b1e76_1_795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" name="Google Shape;1272;g2e2e69b1e76_1_795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g2e2e69b1e76_1_795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4" name="Google Shape;1274;g2e2e69b1e76_1_795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g2e2e69b1e76_1_795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6" name="Google Shape;1276;g2e2e69b1e76_1_795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g2e2e69b1e76_1_795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8" name="Google Shape;1278;g2e2e69b1e76_1_79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79" name="Google Shape;1279;g2e2e69b1e76_1_79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0" name="Google Shape;1280;g2e2e69b1e76_1_795"/>
          <p:cNvSpPr txBox="1">
            <a:spLocks noGrp="1"/>
          </p:cNvSpPr>
          <p:nvPr>
            <p:ph type="body" idx="5"/>
          </p:nvPr>
        </p:nvSpPr>
        <p:spPr>
          <a:xfrm>
            <a:off x="432000" y="1285015"/>
            <a:ext cx="3564000" cy="4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pic>
        <p:nvPicPr>
          <p:cNvPr id="1281" name="Google Shape;1281;g2e2e69b1e76_1_7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5UP">
  <p:cSld name="ICON Grid boxes 5UP">
    <p:spTree>
      <p:nvGrpSpPr>
        <p:cNvPr id="1" name="Shape 1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3" name="Google Shape;1283;g2e2e69b1e76_1_81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4" name="Google Shape;1284;g2e2e69b1e76_1_811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5" name="Google Shape;1285;g2e2e69b1e76_1_811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86" name="Google Shape;1286;g2e2e69b1e76_1_811"/>
          <p:cNvSpPr/>
          <p:nvPr/>
        </p:nvSpPr>
        <p:spPr>
          <a:xfrm>
            <a:off x="2370979" y="1089953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7" name="Google Shape;1287;g2e2e69b1e76_1_811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g2e2e69b1e76_1_811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9" name="Google Shape;1289;g2e2e69b1e76_1_811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90" name="Google Shape;1290;g2e2e69b1e76_1_811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1" name="Google Shape;1291;g2e2e69b1e76_1_811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2" name="Google Shape;1292;g2e2e69b1e76_1_811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93" name="Google Shape;1293;g2e2e69b1e76_1_811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4" name="Google Shape;1294;g2e2e69b1e76_1_811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g2e2e69b1e76_1_811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6" name="Google Shape;1296;g2e2e69b1e76_1_81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97" name="Google Shape;1297;g2e2e69b1e76_1_81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98" name="Google Shape;1298;g2e2e69b1e76_1_8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2UP +Intro ">
  <p:cSld name="TEXT Grid Boxes, Titles 2UP +Intro ">
    <p:spTree>
      <p:nvGrpSpPr>
        <p:cNvPr id="1" name="Shape 1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" name="Google Shape;1300;g2e2e69b1e76_1_828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1" name="Google Shape;1301;g2e2e69b1e76_1_82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2" name="Google Shape;1302;g2e2e69b1e76_1_828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3" name="Google Shape;1303;g2e2e69b1e76_1_828"/>
          <p:cNvSpPr txBox="1">
            <a:spLocks noGrp="1"/>
          </p:cNvSpPr>
          <p:nvPr>
            <p:ph type="body" idx="1"/>
          </p:nvPr>
        </p:nvSpPr>
        <p:spPr>
          <a:xfrm>
            <a:off x="4366871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04" name="Google Shape;1304;g2e2e69b1e76_1_828"/>
          <p:cNvSpPr/>
          <p:nvPr/>
        </p:nvSpPr>
        <p:spPr>
          <a:xfrm>
            <a:off x="4366871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5" name="Google Shape;1305;g2e2e69b1e76_1_828"/>
          <p:cNvSpPr txBox="1">
            <a:spLocks noGrp="1"/>
          </p:cNvSpPr>
          <p:nvPr>
            <p:ph type="body" idx="2"/>
          </p:nvPr>
        </p:nvSpPr>
        <p:spPr>
          <a:xfrm>
            <a:off x="8259249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g2e2e69b1e76_1_828"/>
          <p:cNvSpPr/>
          <p:nvPr/>
        </p:nvSpPr>
        <p:spPr>
          <a:xfrm>
            <a:off x="8259249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7" name="Google Shape;1307;g2e2e69b1e76_1_828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8" name="Google Shape;1308;g2e2e69b1e76_1_828"/>
          <p:cNvSpPr txBox="1">
            <a:spLocks noGrp="1"/>
          </p:cNvSpPr>
          <p:nvPr>
            <p:ph type="body" idx="3"/>
          </p:nvPr>
        </p:nvSpPr>
        <p:spPr>
          <a:xfrm>
            <a:off x="432000" y="1285015"/>
            <a:ext cx="3564000" cy="4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09" name="Google Shape;1309;g2e2e69b1e76_1_82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g2e2e69b1e76_1_828"/>
          <p:cNvSpPr txBox="1">
            <a:spLocks noGrp="1"/>
          </p:cNvSpPr>
          <p:nvPr>
            <p:ph type="body" idx="4"/>
          </p:nvPr>
        </p:nvSpPr>
        <p:spPr>
          <a:xfrm>
            <a:off x="4474871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11" name="Google Shape;1311;g2e2e69b1e76_1_828"/>
          <p:cNvSpPr txBox="1">
            <a:spLocks noGrp="1"/>
          </p:cNvSpPr>
          <p:nvPr>
            <p:ph type="body" idx="5"/>
          </p:nvPr>
        </p:nvSpPr>
        <p:spPr>
          <a:xfrm>
            <a:off x="8367249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12" name="Google Shape;1312;g2e2e69b1e76_1_82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13" name="Google Shape;1313;g2e2e69b1e76_1_8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3UP">
  <p:cSld name="TEXT Grid boxes, Titles 3UP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g2e2e69b1e76_1_843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g2e2e69b1e76_1_84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7" name="Google Shape;1317;g2e2e69b1e76_1_843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8" name="Google Shape;1318;g2e2e69b1e76_1_843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9" name="Google Shape;1319;g2e2e69b1e76_1_843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20" name="Google Shape;1320;g2e2e69b1e76_1_843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1" name="Google Shape;1321;g2e2e69b1e76_1_843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22" name="Google Shape;1322;g2e2e69b1e76_1_843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3" name="Google Shape;1323;g2e2e69b1e76_1_843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4" name="Google Shape;1324;g2e2e69b1e76_1_84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25" name="Google Shape;1325;g2e2e69b1e76_1_843"/>
          <p:cNvSpPr txBox="1">
            <a:spLocks noGrp="1"/>
          </p:cNvSpPr>
          <p:nvPr>
            <p:ph type="body" idx="4"/>
          </p:nvPr>
        </p:nvSpPr>
        <p:spPr>
          <a:xfrm>
            <a:off x="520708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26" name="Google Shape;1326;g2e2e69b1e76_1_843"/>
          <p:cNvSpPr txBox="1">
            <a:spLocks noGrp="1"/>
          </p:cNvSpPr>
          <p:nvPr>
            <p:ph type="body" idx="5"/>
          </p:nvPr>
        </p:nvSpPr>
        <p:spPr>
          <a:xfrm>
            <a:off x="4474871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g2e2e69b1e76_1_843"/>
          <p:cNvSpPr txBox="1">
            <a:spLocks noGrp="1"/>
          </p:cNvSpPr>
          <p:nvPr>
            <p:ph type="body" idx="6"/>
          </p:nvPr>
        </p:nvSpPr>
        <p:spPr>
          <a:xfrm>
            <a:off x="8367249" y="1891996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28" name="Google Shape;1328;g2e2e69b1e76_1_84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29" name="Google Shape;1329;g2e2e69b1e76_1_8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5UP">
  <p:cSld name="TEXT Grid boxes, Titles 5UP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g2e2e69b1e76_1_85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2" name="Google Shape;1332;g2e2e69b1e76_1_85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3" name="Google Shape;1333;g2e2e69b1e76_1_859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34" name="Google Shape;1334;g2e2e69b1e76_1_859"/>
          <p:cNvSpPr/>
          <p:nvPr/>
        </p:nvSpPr>
        <p:spPr>
          <a:xfrm>
            <a:off x="2370979" y="1113399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5" name="Google Shape;1335;g2e2e69b1e76_1_859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36" name="Google Shape;1336;g2e2e69b1e76_1_859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7" name="Google Shape;1337;g2e2e69b1e76_1_859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38" name="Google Shape;1338;g2e2e69b1e76_1_85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9" name="Google Shape;1339;g2e2e69b1e76_1_859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0" name="Google Shape;1340;g2e2e69b1e76_1_859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g2e2e69b1e76_1_859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2" name="Google Shape;1342;g2e2e69b1e76_1_859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3" name="Google Shape;1343;g2e2e69b1e76_1_859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4" name="Google Shape;1344;g2e2e69b1e76_1_85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45" name="Google Shape;1345;g2e2e69b1e76_1_859"/>
          <p:cNvSpPr txBox="1">
            <a:spLocks noGrp="1"/>
          </p:cNvSpPr>
          <p:nvPr>
            <p:ph type="body" idx="6"/>
          </p:nvPr>
        </p:nvSpPr>
        <p:spPr>
          <a:xfrm>
            <a:off x="2478979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6" name="Google Shape;1346;g2e2e69b1e76_1_859"/>
          <p:cNvSpPr txBox="1">
            <a:spLocks noGrp="1"/>
          </p:cNvSpPr>
          <p:nvPr>
            <p:ph type="body" idx="7"/>
          </p:nvPr>
        </p:nvSpPr>
        <p:spPr>
          <a:xfrm>
            <a:off x="6370431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7" name="Google Shape;1347;g2e2e69b1e76_1_859"/>
          <p:cNvSpPr txBox="1">
            <a:spLocks noGrp="1"/>
          </p:cNvSpPr>
          <p:nvPr>
            <p:ph type="body" idx="8"/>
          </p:nvPr>
        </p:nvSpPr>
        <p:spPr>
          <a:xfrm>
            <a:off x="52448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8" name="Google Shape;1348;g2e2e69b1e76_1_859"/>
          <p:cNvSpPr txBox="1">
            <a:spLocks noGrp="1"/>
          </p:cNvSpPr>
          <p:nvPr>
            <p:ph type="body" idx="9"/>
          </p:nvPr>
        </p:nvSpPr>
        <p:spPr>
          <a:xfrm>
            <a:off x="4460077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9" name="Google Shape;1349;g2e2e69b1e76_1_859"/>
          <p:cNvSpPr txBox="1">
            <a:spLocks noGrp="1"/>
          </p:cNvSpPr>
          <p:nvPr>
            <p:ph type="body" idx="13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50" name="Google Shape;1350;g2e2e69b1e76_1_85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51" name="Google Shape;1351;g2e2e69b1e76_1_8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6UP">
  <p:cSld name="TEXT Grid boxes, Titles 6UP">
    <p:spTree>
      <p:nvGrpSpPr>
        <p:cNvPr id="1" name="Shape 1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3" name="Google Shape;1353;g2e2e69b1e76_1_881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54" name="Google Shape;1354;g2e2e69b1e76_1_88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5" name="Google Shape;1355;g2e2e69b1e76_1_881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6" name="Google Shape;1356;g2e2e69b1e76_1_881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7" name="Google Shape;1357;g2e2e69b1e76_1_881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58" name="Google Shape;1358;g2e2e69b1e76_1_881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9" name="Google Shape;1359;g2e2e69b1e76_1_881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60" name="Google Shape;1360;g2e2e69b1e76_1_881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1" name="Google Shape;1361;g2e2e69b1e76_1_881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62" name="Google Shape;1362;g2e2e69b1e76_1_881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3" name="Google Shape;1363;g2e2e69b1e76_1_881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4" name="Google Shape;1364;g2e2e69b1e76_1_881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g2e2e69b1e76_1_881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6" name="Google Shape;1366;g2e2e69b1e76_1_881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67" name="Google Shape;1367;g2e2e69b1e76_1_881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8" name="Google Shape;1368;g2e2e69b1e76_1_88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6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69" name="Google Shape;1369;g2e2e69b1e76_1_881"/>
          <p:cNvSpPr txBox="1">
            <a:spLocks noGrp="1"/>
          </p:cNvSpPr>
          <p:nvPr>
            <p:ph type="body" idx="7"/>
          </p:nvPr>
        </p:nvSpPr>
        <p:spPr>
          <a:xfrm>
            <a:off x="520708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g2e2e69b1e76_1_881"/>
          <p:cNvSpPr txBox="1">
            <a:spLocks noGrp="1"/>
          </p:cNvSpPr>
          <p:nvPr>
            <p:ph type="body" idx="8"/>
          </p:nvPr>
        </p:nvSpPr>
        <p:spPr>
          <a:xfrm>
            <a:off x="4482433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71" name="Google Shape;1371;g2e2e69b1e76_1_881"/>
          <p:cNvSpPr txBox="1">
            <a:spLocks noGrp="1"/>
          </p:cNvSpPr>
          <p:nvPr>
            <p:ph type="body" idx="9"/>
          </p:nvPr>
        </p:nvSpPr>
        <p:spPr>
          <a:xfrm>
            <a:off x="8367249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72" name="Google Shape;1372;g2e2e69b1e76_1_881"/>
          <p:cNvSpPr txBox="1">
            <a:spLocks noGrp="1"/>
          </p:cNvSpPr>
          <p:nvPr>
            <p:ph type="body" idx="13"/>
          </p:nvPr>
        </p:nvSpPr>
        <p:spPr>
          <a:xfrm>
            <a:off x="520708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73" name="Google Shape;1373;g2e2e69b1e76_1_881"/>
          <p:cNvSpPr txBox="1">
            <a:spLocks noGrp="1"/>
          </p:cNvSpPr>
          <p:nvPr>
            <p:ph type="body" idx="14"/>
          </p:nvPr>
        </p:nvSpPr>
        <p:spPr>
          <a:xfrm>
            <a:off x="4482433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74" name="Google Shape;1374;g2e2e69b1e76_1_881"/>
          <p:cNvSpPr txBox="1">
            <a:spLocks noGrp="1"/>
          </p:cNvSpPr>
          <p:nvPr>
            <p:ph type="body" idx="15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75" name="Google Shape;1375;g2e2e69b1e76_1_88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76" name="Google Shape;1376;g2e2e69b1e76_1_8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5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2370978" y="1089953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6257024" y="1090988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39760" y="375104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F81D218-E72F-F84F-B0C3-EC8A11107F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481822-0DD9-B249-90C1-3B1FE0FD98A5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FCCE6883-92E0-20E6-632B-52558F9DBE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7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image">
  <p:cSld name="Full page image">
    <p:spTree>
      <p:nvGrpSpPr>
        <p:cNvPr id="1" name="Shape 1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8" name="Google Shape;1378;g2e2e69b1e76_1_906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9" name="Google Shape;1379;g2e2e69b1e76_1_90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0" name="Google Shape;1380;g2e2e69b1e76_1_906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blue">
  <p:cSld name="Quote blue">
    <p:spTree>
      <p:nvGrpSpPr>
        <p:cNvPr id="1" name="Shape 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" name="Google Shape;1382;g2e2e69b1e76_1_910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3" name="Google Shape;1383;g2e2e69b1e76_1_910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4" name="Google Shape;1384;g2e2e69b1e76_1_910"/>
          <p:cNvSpPr txBox="1">
            <a:spLocks noGrp="1"/>
          </p:cNvSpPr>
          <p:nvPr>
            <p:ph type="body" idx="1"/>
          </p:nvPr>
        </p:nvSpPr>
        <p:spPr>
          <a:xfrm>
            <a:off x="537224" y="1314156"/>
            <a:ext cx="7503900" cy="34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85" name="Google Shape;1385;g2e2e69b1e76_1_910"/>
          <p:cNvSpPr txBox="1">
            <a:spLocks noGrp="1"/>
          </p:cNvSpPr>
          <p:nvPr>
            <p:ph type="body" idx="2"/>
          </p:nvPr>
        </p:nvSpPr>
        <p:spPr>
          <a:xfrm>
            <a:off x="828000" y="4780883"/>
            <a:ext cx="75039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86" name="Google Shape;1386;g2e2e69b1e76_1_91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87" name="Google Shape;1387;g2e2e69b1e76_1_9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">
    <p:spTree>
      <p:nvGrpSpPr>
        <p:cNvPr id="1" name="Shape 1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9" name="Google Shape;1389;g2e2e69b1e76_1_9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390" name="Google Shape;1390;g2e2e69b1e76_1_917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1" name="Google Shape;1391;g2e2e69b1e76_1_91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2" name="Google Shape;1392;g2e2e69b1e76_1_91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93" name="Google Shape;1393;g2e2e69b1e76_1_917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7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">
    <p:spTree>
      <p:nvGrpSpPr>
        <p:cNvPr id="1" name="Shape 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5" name="Google Shape;1395;g2e2e69b1e76_1_9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396" name="Google Shape;1396;g2e2e69b1e76_1_923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7" name="Google Shape;1397;g2e2e69b1e76_1_92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8" name="Google Shape;1398;g2e2e69b1e76_1_923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99" name="Google Shape;1399;g2e2e69b1e76_1_923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7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"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1" name="Google Shape;1401;g2e2e69b1e76_1_9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02" name="Google Shape;1402;g2e2e69b1e76_1_92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3" name="Google Shape;1403;g2e2e69b1e76_1_929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4" name="Google Shape;1404;g2e2e69b1e76_1_92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5" name="Google Shape;1405;g2e2e69b1e76_1_92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 2"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" name="Google Shape;1407;g2e2e69b1e76_1_9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08" name="Google Shape;1408;g2e2e69b1e76_1_93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9" name="Google Shape;1409;g2e2e69b1e76_1_935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0" name="Google Shape;1410;g2e2e69b1e76_1_935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411" name="Google Shape;1411;g2e2e69b1e76_1_935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7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12" name="Google Shape;1412;g2e2e69b1e76_1_935"/>
          <p:cNvSpPr txBox="1"/>
          <p:nvPr/>
        </p:nvSpPr>
        <p:spPr>
          <a:xfrm>
            <a:off x="1245609" y="2349016"/>
            <a:ext cx="3552900" cy="15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 2">
    <p:spTree>
      <p:nvGrpSpPr>
        <p:cNvPr id="1" name="Shape 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4" name="Google Shape;1414;g2e2e69b1e76_1_9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15" name="Google Shape;1415;g2e2e69b1e76_1_942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6" name="Google Shape;1416;g2e2e69b1e76_1_942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7" name="Google Shape;1417;g2e2e69b1e76_1_94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418" name="Google Shape;1418;g2e2e69b1e76_1_942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7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19" name="Google Shape;1419;g2e2e69b1e76_1_942"/>
          <p:cNvSpPr txBox="1"/>
          <p:nvPr/>
        </p:nvSpPr>
        <p:spPr>
          <a:xfrm>
            <a:off x="1245609" y="2349016"/>
            <a:ext cx="3552900" cy="15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 2">
    <p:spTree>
      <p:nvGrpSpPr>
        <p:cNvPr id="1" name="Shape 1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1" name="Google Shape;1421;g2e2e69b1e76_1_9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22" name="Google Shape;1422;g2e2e69b1e76_1_94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3" name="Google Shape;1423;g2e2e69b1e76_1_949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4" name="Google Shape;1424;g2e2e69b1e76_1_94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5" name="Google Shape;1425;g2e2e69b1e76_1_94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426" name="Google Shape;1426;g2e2e69b1e76_1_949"/>
          <p:cNvSpPr txBox="1"/>
          <p:nvPr/>
        </p:nvSpPr>
        <p:spPr>
          <a:xfrm>
            <a:off x="1245609" y="2349016"/>
            <a:ext cx="3552900" cy="13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</a:pPr>
            <a:r>
              <a:rPr lang="en-GB" sz="2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 2">
    <p:spTree>
      <p:nvGrpSpPr>
        <p:cNvPr id="1" name="Shape 1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8" name="Google Shape;1428;g2e2e69b1e76_1_95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9" name="Google Shape;1429;g2e2e69b1e76_1_95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0" name="Google Shape;1430;g2e2e69b1e76_1_95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1" name="Google Shape;1431;g2e2e69b1e76_1_95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1432" name="Google Shape;1432;g2e2e69b1e76_1_9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33" name="Google Shape;1433;g2e2e69b1e76_1_956"/>
          <p:cNvSpPr txBox="1"/>
          <p:nvPr/>
        </p:nvSpPr>
        <p:spPr>
          <a:xfrm>
            <a:off x="1245609" y="2349016"/>
            <a:ext cx="3552900" cy="13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</a:pPr>
            <a:r>
              <a:rPr lang="en-GB" sz="2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reaker Heading1-Blue-DarkBlueA">
  <p:cSld name="5_Breaker Heading1-Blue-DarkBlueA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5" name="Google Shape;1435;g2e2e69b1e76_1_963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36" name="Google Shape;1436;g2e2e69b1e76_1_963"/>
          <p:cNvSpPr txBox="1">
            <a:spLocks noGrp="1"/>
          </p:cNvSpPr>
          <p:nvPr>
            <p:ph type="body" idx="1"/>
          </p:nvPr>
        </p:nvSpPr>
        <p:spPr>
          <a:xfrm>
            <a:off x="882932" y="3564000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37" name="Google Shape;1437;g2e2e69b1e76_1_963"/>
          <p:cNvSpPr txBox="1">
            <a:spLocks noGrp="1"/>
          </p:cNvSpPr>
          <p:nvPr>
            <p:ph type="body" idx="2"/>
          </p:nvPr>
        </p:nvSpPr>
        <p:spPr>
          <a:xfrm>
            <a:off x="882932" y="2520000"/>
            <a:ext cx="6948300" cy="9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g2e2e69b1e76_1_963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6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74434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8FD52DB-CC55-304D-B862-680CEE783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F036740-51BF-404A-B94A-164C9330AE62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78D1774-8975-89D5-1EA8-A68550359E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54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reaker Heading1-Blue-DarkBlueA">
  <p:cSld name="6_Breaker Heading1-Blue-DarkBlueA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g2e2e69b1e76_1_968"/>
          <p:cNvSpPr/>
          <p:nvPr/>
        </p:nvSpPr>
        <p:spPr>
          <a:xfrm>
            <a:off x="-14636" y="-34893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1" name="Google Shape;1441;g2e2e69b1e76_1_968" descr="Chart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16746" y="-121920"/>
            <a:ext cx="12407531" cy="6979233"/>
          </a:xfrm>
          <a:prstGeom prst="rect">
            <a:avLst/>
          </a:prstGeom>
          <a:noFill/>
          <a:ln>
            <a:noFill/>
          </a:ln>
        </p:spPr>
      </p:pic>
      <p:sp>
        <p:nvSpPr>
          <p:cNvPr id="1442" name="Google Shape;1442;g2e2e69b1e76_1_968"/>
          <p:cNvSpPr txBox="1">
            <a:spLocks noGrp="1"/>
          </p:cNvSpPr>
          <p:nvPr>
            <p:ph type="body" idx="1"/>
          </p:nvPr>
        </p:nvSpPr>
        <p:spPr>
          <a:xfrm>
            <a:off x="612000" y="3903219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g2e2e69b1e76_1_968"/>
          <p:cNvSpPr txBox="1">
            <a:spLocks noGrp="1"/>
          </p:cNvSpPr>
          <p:nvPr>
            <p:ph type="body" idx="2"/>
          </p:nvPr>
        </p:nvSpPr>
        <p:spPr>
          <a:xfrm>
            <a:off x="612000" y="1917291"/>
            <a:ext cx="5685600" cy="1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4" name="Google Shape;1444;g2e2e69b1e76_1_968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reaker Heading1-Blue-DarkBlueA">
  <p:cSld name="7_Breaker Heading1-Blue-DarkBlueA">
    <p:spTree>
      <p:nvGrpSpPr>
        <p:cNvPr id="1" name="Shape 1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6" name="Google Shape;1446;g2e2e69b1e76_1_974" descr="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0800" cy="6857326"/>
          </a:xfrm>
          <a:prstGeom prst="rect">
            <a:avLst/>
          </a:prstGeom>
          <a:noFill/>
          <a:ln>
            <a:noFill/>
          </a:ln>
        </p:spPr>
      </p:pic>
      <p:sp>
        <p:nvSpPr>
          <p:cNvPr id="1447" name="Google Shape;1447;g2e2e69b1e76_1_974"/>
          <p:cNvSpPr txBox="1">
            <a:spLocks noGrp="1"/>
          </p:cNvSpPr>
          <p:nvPr>
            <p:ph type="body" idx="1"/>
          </p:nvPr>
        </p:nvSpPr>
        <p:spPr>
          <a:xfrm>
            <a:off x="854599" y="3903219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8" name="Google Shape;1448;g2e2e69b1e76_1_974"/>
          <p:cNvSpPr txBox="1">
            <a:spLocks noGrp="1"/>
          </p:cNvSpPr>
          <p:nvPr>
            <p:ph type="body" idx="2"/>
          </p:nvPr>
        </p:nvSpPr>
        <p:spPr>
          <a:xfrm>
            <a:off x="854599" y="1917291"/>
            <a:ext cx="5685600" cy="1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9" name="Google Shape;1449;g2e2e69b1e76_1_974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slide with image A">
  <p:cSld name="1_Headline slide with image A">
    <p:spTree>
      <p:nvGrpSpPr>
        <p:cNvPr id="1" name="Shape 1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1" name="Google Shape;1451;g2e2e69b1e76_1_97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452" name="Google Shape;1452;g2e2e69b1e76_1_979"/>
          <p:cNvSpPr/>
          <p:nvPr/>
        </p:nvSpPr>
        <p:spPr>
          <a:xfrm>
            <a:off x="0" y="0"/>
            <a:ext cx="60960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3" name="Google Shape;1453;g2e2e69b1e76_1_97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4" name="Google Shape;1454;g2e2e69b1e76_1_979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5" name="Google Shape;1455;g2e2e69b1e76_1_979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100" cy="89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56" name="Google Shape;1456;g2e2e69b1e76_1_979"/>
          <p:cNvSpPr txBox="1">
            <a:spLocks noGrp="1"/>
          </p:cNvSpPr>
          <p:nvPr>
            <p:ph type="body" idx="3"/>
          </p:nvPr>
        </p:nvSpPr>
        <p:spPr>
          <a:xfrm>
            <a:off x="891916" y="1917291"/>
            <a:ext cx="5685600" cy="1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ACCESSIBLE">
  <p:cSld name="End Slide ACCESSIBLE"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58" name="Google Shape;1458;g2e2e69b1e76_1_986"/>
          <p:cNvCxnSpPr/>
          <p:nvPr/>
        </p:nvCxnSpPr>
        <p:spPr>
          <a:xfrm>
            <a:off x="5715927" y="2605852"/>
            <a:ext cx="8652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9" name="Google Shape;1459;g2e2e69b1e76_1_98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0" name="Google Shape;1460;g2e2e69b1e76_1_986"/>
          <p:cNvSpPr txBox="1"/>
          <p:nvPr/>
        </p:nvSpPr>
        <p:spPr>
          <a:xfrm>
            <a:off x="5610769" y="2808747"/>
            <a:ext cx="4343700" cy="26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EB8"/>
              </a:buClr>
              <a:buSzPts val="2700"/>
              <a:buFont typeface="Arial"/>
              <a:buNone/>
            </a:pPr>
            <a:r>
              <a:rPr lang="en-GB"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Thank You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@nhsengland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company/nhsengland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	england.nhs.uk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61" name="Google Shape;1461;g2e2e69b1e76_1_9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72040" y="3665235"/>
            <a:ext cx="390106" cy="3901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2" name="Google Shape;1462;g2e2e69b1e76_1_9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85396" y="4266369"/>
            <a:ext cx="390106" cy="3901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3" name="Google Shape;1463;g2e2e69b1e76_1_98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67075" y="4806523"/>
            <a:ext cx="600018" cy="6000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4" name="Google Shape;1464;g2e2e69b1e76_1_986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51045" y="364426"/>
            <a:ext cx="1208836" cy="9796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5" name="Google Shape;1465;g2e2e69b1e76_1_986" descr="Icon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400000">
            <a:off x="-2508235" y="-71679"/>
            <a:ext cx="10767888" cy="761548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1">
  <p:cSld name="Data 1">
    <p:spTree>
      <p:nvGrpSpPr>
        <p:cNvPr id="1" name="Shape 1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7" name="Google Shape;1467;g2e2e69b1e76_1_995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8" name="Google Shape;1468;g2e2e69b1e76_1_99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69" name="Google Shape;1469;g2e2e69b1e76_1_99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0" name="Google Shape;1470;g2e2e69b1e76_1_995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1" name="Google Shape;1471;g2e2e69b1e76_1_995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72" name="Google Shape;1472;g2e2e69b1e76_1_99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73" name="Google Shape;1473;g2e2e69b1e76_1_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ata 1">
  <p:cSld name="1_Data 1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g2e2e69b1e76_1_1003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6" name="Google Shape;1476;g2e2e69b1e76_1_1003"/>
          <p:cNvSpPr txBox="1">
            <a:spLocks noGrp="1"/>
          </p:cNvSpPr>
          <p:nvPr>
            <p:ph type="title"/>
          </p:nvPr>
        </p:nvSpPr>
        <p:spPr>
          <a:xfrm>
            <a:off x="432000" y="310075"/>
            <a:ext cx="11404500" cy="42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77" name="Google Shape;1477;g2e2e69b1e76_1_100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8" name="Google Shape;1478;g2e2e69b1e76_1_1003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9" name="Google Shape;1479;g2e2e69b1e76_1_1003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80" name="Google Shape;1480;g2e2e69b1e76_1_100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81" name="Google Shape;1481;g2e2e69b1e76_1_10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  <p:sp>
        <p:nvSpPr>
          <p:cNvPr id="1482" name="Google Shape;1482;g2e2e69b1e76_1_1003"/>
          <p:cNvSpPr txBox="1">
            <a:spLocks noGrp="1"/>
          </p:cNvSpPr>
          <p:nvPr>
            <p:ph type="body" idx="1"/>
          </p:nvPr>
        </p:nvSpPr>
        <p:spPr>
          <a:xfrm>
            <a:off x="432001" y="767200"/>
            <a:ext cx="110127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 b="1">
                <a:solidFill>
                  <a:schemeClr val="accent6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2">
  <p:cSld name="Data 2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g2e2e69b1e76_1_1012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5" name="Google Shape;1485;g2e2e69b1e76_1_101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g2e2e69b1e76_1_101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7" name="Google Shape;1487;g2e2e69b1e76_1_1012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8" name="Google Shape;1488;g2e2e69b1e76_1_1012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89" name="Google Shape;1489;g2e2e69b1e76_1_101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90" name="Google Shape;1490;g2e2e69b1e76_1_10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3">
  <p:cSld name="Data 3">
    <p:spTree>
      <p:nvGrpSpPr>
        <p:cNvPr id="1" name="Shape 1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2" name="Google Shape;1492;g2e2e69b1e76_1_1020"/>
          <p:cNvSpPr/>
          <p:nvPr/>
        </p:nvSpPr>
        <p:spPr>
          <a:xfrm>
            <a:off x="0" y="0"/>
            <a:ext cx="12206700" cy="68727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3" name="Google Shape;1493;g2e2e69b1e76_1_102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5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94" name="Google Shape;1494;g2e2e69b1e76_1_102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5" name="Google Shape;1495;g2e2e69b1e76_1_1020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6" name="Google Shape;1496;g2e2e69b1e76_1_1020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97" name="Google Shape;1497;g2e2e69b1e76_1_102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98" name="Google Shape;1498;g2e2e69b1e76_1_10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672" y="244058"/>
            <a:ext cx="3064371" cy="1879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1_Headline and image with header 1">
    <p:spTree>
      <p:nvGrpSpPr>
        <p:cNvPr id="1" name="Shape 1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0" name="Google Shape;1500;g2e2e69b1e76_1_1028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1" name="Google Shape;1501;g2e2e69b1e76_1_1028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4">
  <p:cSld name="2_Headline and image with header 4">
    <p:spTree>
      <p:nvGrpSpPr>
        <p:cNvPr id="1" name="Shape 1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3" name="Google Shape;1503;g2e2e69b1e76_1_1031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4" name="Google Shape;1504;g2e2e69b1e76_1_1031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5" name="Google Shape;1505;g2e2e69b1e76_1_1031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6" name="Google Shape;1506;g2e2e69b1e76_1_1031"/>
          <p:cNvSpPr txBox="1"/>
          <p:nvPr/>
        </p:nvSpPr>
        <p:spPr>
          <a:xfrm>
            <a:off x="7202551" y="2249424"/>
            <a:ext cx="4428000" cy="124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2UP +Intr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AEEEA08-1C49-6944-6F79-AABE5D4651A9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290349"/>
            <a:ext cx="3564000" cy="3764374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282349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290349"/>
            <a:ext cx="3564000" cy="3764372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282349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7D3740-0A11-F14D-A939-98CD3587271B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285014"/>
            <a:ext cx="3564001" cy="4769711"/>
          </a:xfrm>
        </p:spPr>
        <p:txBody>
          <a:bodyPr lIns="0" tIns="0" rIns="0" bIns="0"/>
          <a:lstStyle>
            <a:lvl1pPr marL="0" indent="0">
              <a:buNone/>
              <a:defRPr sz="2200"/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5347A23-4C56-A54D-96A3-4993B86066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21EFD07-C8A5-7845-9A8E-928B94195A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4871" y="142623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076541C-26A7-7147-BAC1-5A229E7C0E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7249" y="142623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FF391A-F0C8-2846-A025-06D92CB6CD43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4626D58-3C16-8648-D845-A7F521318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75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and image with header 4">
  <p:cSld name="Headline and image with header 4">
    <p:spTree>
      <p:nvGrpSpPr>
        <p:cNvPr id="1" name="Shape 1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8" name="Google Shape;1508;g2e2e69b1e76_1_103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9" name="Google Shape;1509;g2e2e69b1e76_1_103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0" name="Google Shape;1510;g2e2e69b1e76_1_1036"/>
          <p:cNvSpPr/>
          <p:nvPr/>
        </p:nvSpPr>
        <p:spPr>
          <a:xfrm>
            <a:off x="11444644" y="6404977"/>
            <a:ext cx="372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title slide">
  <p:cSld name="Front 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5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25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30720" y="-508517"/>
            <a:ext cx="11319578" cy="800566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5"/>
          <p:cNvSpPr txBox="1">
            <a:spLocks noGrp="1"/>
          </p:cNvSpPr>
          <p:nvPr>
            <p:ph type="ctrTitle"/>
          </p:nvPr>
        </p:nvSpPr>
        <p:spPr>
          <a:xfrm>
            <a:off x="432000" y="1002268"/>
            <a:ext cx="4643853" cy="2507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5"/>
          <p:cNvSpPr txBox="1">
            <a:spLocks noGrp="1"/>
          </p:cNvSpPr>
          <p:nvPr>
            <p:ph type="subTitle" idx="1"/>
          </p:nvPr>
        </p:nvSpPr>
        <p:spPr>
          <a:xfrm>
            <a:off x="432000" y="3600000"/>
            <a:ext cx="7973051" cy="1024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800"/>
              <a:buNone/>
              <a:defRPr sz="2800">
                <a:solidFill>
                  <a:schemeClr val="accent6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" name="Google Shape;20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30022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1" name="Google Shape;21;p25"/>
          <p:cNvSpPr txBox="1"/>
          <p:nvPr/>
        </p:nvSpPr>
        <p:spPr>
          <a:xfrm>
            <a:off x="3225114" y="601774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5"/>
          <p:cNvSpPr txBox="1">
            <a:spLocks noGrp="1"/>
          </p:cNvSpPr>
          <p:nvPr>
            <p:ph type="body" idx="2"/>
          </p:nvPr>
        </p:nvSpPr>
        <p:spPr>
          <a:xfrm>
            <a:off x="432000" y="5760000"/>
            <a:ext cx="6259513" cy="488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 sz="24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>
                <a:solidFill>
                  <a:schemeClr val="accen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000"/>
              <a:buNone/>
              <a:defRPr>
                <a:solidFill>
                  <a:schemeClr val="accen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25"/>
          <p:cNvSpPr txBox="1"/>
          <p:nvPr/>
        </p:nvSpPr>
        <p:spPr>
          <a:xfrm>
            <a:off x="9233452" y="5486400"/>
            <a:ext cx="18473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4" name="Google Shape;24;p25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51045" y="364425"/>
            <a:ext cx="1208955" cy="9797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Heading, subhead, bullets one column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6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26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26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2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2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2" name="Google Shape;32;p2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3" name="Google Shape;33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1_Title, subhead, two columns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p32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32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3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39;p3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40;p3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41" name="Google Shape;41;p32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2" name="Google Shape;42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reaker Heading1-Blue-DarkBlueA">
  <p:cSld name="8_Breaker Heading1-Blue-DarkBlueA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7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" name="Google Shape;45;p27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2265" y="-122410"/>
            <a:ext cx="12499929" cy="703121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27"/>
          <p:cNvSpPr txBox="1">
            <a:spLocks noGrp="1"/>
          </p:cNvSpPr>
          <p:nvPr>
            <p:ph type="body" idx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27"/>
          <p:cNvSpPr txBox="1">
            <a:spLocks noGrp="1"/>
          </p:cNvSpPr>
          <p:nvPr>
            <p:ph type="body" idx="2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2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5UP">
  <p:cSld name="ICON Grid boxes 5UP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8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48"/>
          <p:cNvSpPr txBox="1">
            <a:spLocks noGrp="1"/>
          </p:cNvSpPr>
          <p:nvPr>
            <p:ph type="body" idx="1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48"/>
          <p:cNvSpPr/>
          <p:nvPr/>
        </p:nvSpPr>
        <p:spPr>
          <a:xfrm>
            <a:off x="2370978" y="1089953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48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48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48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48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58;p48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48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48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48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48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4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64" name="Google Shape;64;p4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5" name="Google Shape;65;p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reaker Heading1-Blue-DarkBlueA">
  <p:cSld name="7_Breaker Heading1-Blue-DarkBlueA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Google Shape;67;p67" descr="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Google Shape;68;p67"/>
          <p:cNvSpPr txBox="1">
            <a:spLocks noGrp="1"/>
          </p:cNvSpPr>
          <p:nvPr>
            <p:ph type="body" idx="1"/>
          </p:nvPr>
        </p:nvSpPr>
        <p:spPr>
          <a:xfrm>
            <a:off x="854598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67"/>
          <p:cNvSpPr txBox="1">
            <a:spLocks noGrp="1"/>
          </p:cNvSpPr>
          <p:nvPr>
            <p:ph type="body" idx="2"/>
          </p:nvPr>
        </p:nvSpPr>
        <p:spPr>
          <a:xfrm>
            <a:off x="854598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6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eading, content, basic text one col">
  <p:cSld name="Heading, content, basic text one col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35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73;p35"/>
          <p:cNvSpPr txBox="1">
            <a:spLocks noGrp="1"/>
          </p:cNvSpPr>
          <p:nvPr>
            <p:ph type="title"/>
          </p:nvPr>
        </p:nvSpPr>
        <p:spPr>
          <a:xfrm>
            <a:off x="347413" y="3166643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35"/>
          <p:cNvSpPr txBox="1">
            <a:spLocks noGrp="1"/>
          </p:cNvSpPr>
          <p:nvPr>
            <p:ph type="body" idx="1"/>
          </p:nvPr>
        </p:nvSpPr>
        <p:spPr>
          <a:xfrm>
            <a:off x="412708" y="2106000"/>
            <a:ext cx="7632000" cy="4026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Arial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35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76;p3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" name="Google Shape;77;p3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ample-Icons-Layout">
  <p:cSld name="Sample-Icons-Layou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3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3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" name="Google Shape;82;p3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" name="Google Shape;83;p36"/>
          <p:cNvSpPr/>
          <p:nvPr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36"/>
          <p:cNvSpPr/>
          <p:nvPr/>
        </p:nvSpPr>
        <p:spPr>
          <a:xfrm>
            <a:off x="383058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36"/>
          <p:cNvSpPr/>
          <p:nvPr/>
        </p:nvSpPr>
        <p:spPr>
          <a:xfrm>
            <a:off x="1534525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86;p36"/>
          <p:cNvSpPr/>
          <p:nvPr/>
        </p:nvSpPr>
        <p:spPr>
          <a:xfrm>
            <a:off x="2685992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36"/>
          <p:cNvSpPr/>
          <p:nvPr/>
        </p:nvSpPr>
        <p:spPr>
          <a:xfrm>
            <a:off x="3837459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36"/>
          <p:cNvSpPr/>
          <p:nvPr/>
        </p:nvSpPr>
        <p:spPr>
          <a:xfrm>
            <a:off x="4988926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p36"/>
          <p:cNvSpPr/>
          <p:nvPr/>
        </p:nvSpPr>
        <p:spPr>
          <a:xfrm>
            <a:off x="6140393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36"/>
          <p:cNvSpPr/>
          <p:nvPr/>
        </p:nvSpPr>
        <p:spPr>
          <a:xfrm>
            <a:off x="7291860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6"/>
          <p:cNvSpPr/>
          <p:nvPr/>
        </p:nvSpPr>
        <p:spPr>
          <a:xfrm>
            <a:off x="8443327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6"/>
          <p:cNvSpPr/>
          <p:nvPr/>
        </p:nvSpPr>
        <p:spPr>
          <a:xfrm>
            <a:off x="9594794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36"/>
          <p:cNvSpPr/>
          <p:nvPr/>
        </p:nvSpPr>
        <p:spPr>
          <a:xfrm>
            <a:off x="10746258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p36"/>
          <p:cNvSpPr/>
          <p:nvPr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Google Shape;95;p36"/>
          <p:cNvSpPr/>
          <p:nvPr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36"/>
          <p:cNvSpPr/>
          <p:nvPr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36"/>
          <p:cNvSpPr/>
          <p:nvPr/>
        </p:nvSpPr>
        <p:spPr>
          <a:xfrm>
            <a:off x="4988926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Google Shape;98;p36"/>
          <p:cNvSpPr/>
          <p:nvPr/>
        </p:nvSpPr>
        <p:spPr>
          <a:xfrm>
            <a:off x="6140393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" name="Google Shape;99;p36"/>
          <p:cNvSpPr/>
          <p:nvPr/>
        </p:nvSpPr>
        <p:spPr>
          <a:xfrm>
            <a:off x="7291860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Google Shape;100;p36"/>
          <p:cNvSpPr/>
          <p:nvPr/>
        </p:nvSpPr>
        <p:spPr>
          <a:xfrm>
            <a:off x="8443327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" name="Google Shape;101;p36"/>
          <p:cNvSpPr/>
          <p:nvPr/>
        </p:nvSpPr>
        <p:spPr>
          <a:xfrm>
            <a:off x="9594794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102;p36"/>
          <p:cNvSpPr/>
          <p:nvPr/>
        </p:nvSpPr>
        <p:spPr>
          <a:xfrm>
            <a:off x="10746258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36"/>
          <p:cNvSpPr/>
          <p:nvPr/>
        </p:nvSpPr>
        <p:spPr>
          <a:xfrm>
            <a:off x="383058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Google Shape;104;p36"/>
          <p:cNvSpPr/>
          <p:nvPr/>
        </p:nvSpPr>
        <p:spPr>
          <a:xfrm>
            <a:off x="1534525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36"/>
          <p:cNvSpPr/>
          <p:nvPr/>
        </p:nvSpPr>
        <p:spPr>
          <a:xfrm>
            <a:off x="2685992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36"/>
          <p:cNvSpPr/>
          <p:nvPr/>
        </p:nvSpPr>
        <p:spPr>
          <a:xfrm>
            <a:off x="3837459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36"/>
          <p:cNvSpPr/>
          <p:nvPr/>
        </p:nvSpPr>
        <p:spPr>
          <a:xfrm>
            <a:off x="4988926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36"/>
          <p:cNvSpPr/>
          <p:nvPr/>
        </p:nvSpPr>
        <p:spPr>
          <a:xfrm>
            <a:off x="6140393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36"/>
          <p:cNvSpPr/>
          <p:nvPr/>
        </p:nvSpPr>
        <p:spPr>
          <a:xfrm>
            <a:off x="7291860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10;p36"/>
          <p:cNvSpPr/>
          <p:nvPr/>
        </p:nvSpPr>
        <p:spPr>
          <a:xfrm>
            <a:off x="8443327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" name="Google Shape;111;p36"/>
          <p:cNvSpPr/>
          <p:nvPr/>
        </p:nvSpPr>
        <p:spPr>
          <a:xfrm>
            <a:off x="9594794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36"/>
          <p:cNvSpPr/>
          <p:nvPr/>
        </p:nvSpPr>
        <p:spPr>
          <a:xfrm>
            <a:off x="10746258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" name="Google Shape;113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ample-Icons-Layout">
  <p:cSld name="1_Sample-Icons-Layout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37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" name="Google Shape;116;p37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3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8" name="Google Shape;118;p3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" name="Google Shape;119;p37"/>
          <p:cNvSpPr/>
          <p:nvPr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37"/>
          <p:cNvSpPr/>
          <p:nvPr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37"/>
          <p:cNvSpPr/>
          <p:nvPr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Google Shape;122;p37"/>
          <p:cNvSpPr/>
          <p:nvPr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37"/>
          <p:cNvSpPr/>
          <p:nvPr/>
        </p:nvSpPr>
        <p:spPr>
          <a:xfrm>
            <a:off x="383058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37"/>
          <p:cNvSpPr/>
          <p:nvPr/>
        </p:nvSpPr>
        <p:spPr>
          <a:xfrm>
            <a:off x="1534525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37"/>
          <p:cNvSpPr/>
          <p:nvPr/>
        </p:nvSpPr>
        <p:spPr>
          <a:xfrm>
            <a:off x="2685992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37"/>
          <p:cNvSpPr/>
          <p:nvPr/>
        </p:nvSpPr>
        <p:spPr>
          <a:xfrm>
            <a:off x="3837459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" name="Google Shape;127;p37"/>
          <p:cNvSpPr/>
          <p:nvPr/>
        </p:nvSpPr>
        <p:spPr>
          <a:xfrm>
            <a:off x="5122911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" name="Google Shape;128;p37"/>
          <p:cNvSpPr/>
          <p:nvPr/>
        </p:nvSpPr>
        <p:spPr>
          <a:xfrm>
            <a:off x="7474153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37"/>
          <p:cNvSpPr/>
          <p:nvPr/>
        </p:nvSpPr>
        <p:spPr>
          <a:xfrm>
            <a:off x="9825395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0" name="Google Shape;130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3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C74A26B3-AA54-E4E3-F815-2DD0B5B502BC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1" name="Picture 30" descr="A picture containing icon&#10;&#10;Description automatically generated">
            <a:extLst>
              <a:ext uri="{FF2B5EF4-FFF2-40B4-BE49-F238E27FC236}">
                <a16:creationId xmlns:a16="http://schemas.microsoft.com/office/drawing/2014/main" id="{598E9D71-498A-0294-DB92-FA8A45963C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30720" y="-508517"/>
            <a:ext cx="11319578" cy="80056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D054BE-B63C-B248-A010-D04767679C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" y="1002268"/>
            <a:ext cx="4643853" cy="250769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5400" b="1" spc="-3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B3AB80-4EA2-FC4A-9654-92EF4DFF45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000" y="3600000"/>
            <a:ext cx="7973051" cy="10249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8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80857E-40D1-074A-8CBC-E3E38E695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002280" cy="365125"/>
          </a:xfrm>
          <a:prstGeom prst="rect">
            <a:avLst/>
          </a:prstGeom>
        </p:spPr>
        <p:txBody>
          <a:bodyPr/>
          <a:lstStyle/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1DEB39-6B31-D948-AF21-75D8DF423B1B}"/>
              </a:ext>
            </a:extLst>
          </p:cNvPr>
          <p:cNvSpPr txBox="1"/>
          <p:nvPr userDrawn="1"/>
        </p:nvSpPr>
        <p:spPr>
          <a:xfrm>
            <a:off x="3225114" y="60177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E63D1E-5669-124C-90CA-03B13A7D7A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5760000"/>
            <a:ext cx="6259513" cy="4889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accent6"/>
                </a:solidFill>
              </a:defRPr>
            </a:lvl1pPr>
            <a:lvl2pPr marL="357188" indent="0">
              <a:buNone/>
              <a:defRPr>
                <a:solidFill>
                  <a:schemeClr val="accent2"/>
                </a:solidFill>
              </a:defRPr>
            </a:lvl2pPr>
            <a:lvl3pPr marL="714375" indent="0">
              <a:buNone/>
              <a:defRPr>
                <a:solidFill>
                  <a:schemeClr val="accent2"/>
                </a:solidFill>
              </a:defRPr>
            </a:lvl3pPr>
            <a:lvl4pPr marL="1081087" indent="0">
              <a:buNone/>
              <a:defRPr>
                <a:solidFill>
                  <a:schemeClr val="accent2"/>
                </a:solidFill>
              </a:defRPr>
            </a:lvl4pPr>
            <a:lvl5pPr marL="143827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F2A1D7-0D87-D844-942F-FEAD20579184}"/>
              </a:ext>
            </a:extLst>
          </p:cNvPr>
          <p:cNvSpPr txBox="1"/>
          <p:nvPr userDrawn="1"/>
        </p:nvSpPr>
        <p:spPr>
          <a:xfrm>
            <a:off x="9233452" y="5486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8D04FEF-6120-D9DF-6018-2393FD137B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7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DBDDA74-8B33-8B4B-9B25-993D2BE7C7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45D2B57-B97B-B347-9DEB-D5C1AC753A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0708" y="1897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DD1D30-BF5F-3F4D-A1DE-F7778CA7E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4871" y="1897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D443938-DE7C-934D-A74E-737FAD8DA3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67249" y="1891996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E58B1A-02A3-B84A-8BB1-27D19814EDBF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C73BAF5-5900-0C46-ED91-BD67D9ED44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90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wo columns">
  <p:cSld name="2_Title, subhead, two columns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38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38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38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38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3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3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39" name="Google Shape;139;p38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0" name="Google Shape;140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hree columns">
  <p:cSld name="2_Title, subhead, Three columns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39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" name="Google Shape;143;p39"/>
          <p:cNvSpPr txBox="1">
            <a:spLocks noGrp="1"/>
          </p:cNvSpPr>
          <p:nvPr>
            <p:ph type="body"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39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3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3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3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8" name="Google Shape;148;p39"/>
          <p:cNvCxnSpPr/>
          <p:nvPr/>
        </p:nvCxnSpPr>
        <p:spPr>
          <a:xfrm>
            <a:off x="432000" y="63487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9" name="Google Shape;149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slide with image A">
  <p:cSld name="Headline slide with image A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40"/>
          <p:cNvSpPr/>
          <p:nvPr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40"/>
          <p:cNvSpPr txBox="1">
            <a:spLocks noGrp="1"/>
          </p:cNvSpPr>
          <p:nvPr>
            <p:ph type="title"/>
          </p:nvPr>
        </p:nvSpPr>
        <p:spPr>
          <a:xfrm>
            <a:off x="354093" y="1647568"/>
            <a:ext cx="4909569" cy="313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4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4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40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Quote large Centred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41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4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41"/>
          <p:cNvSpPr txBox="1">
            <a:spLocks noGrp="1"/>
          </p:cNvSpPr>
          <p:nvPr>
            <p:ph type="body" idx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1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" name="Google Shape;161;p41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62" name="Google Shape;162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Grey">
  <p:cSld name="ICON Grid Boxes 4UP Grey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42"/>
          <p:cNvSpPr txBox="1">
            <a:spLocks noGrp="1"/>
          </p:cNvSpPr>
          <p:nvPr>
            <p:ph type="body" idx="1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4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4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42"/>
          <p:cNvSpPr/>
          <p:nvPr/>
        </p:nvSpPr>
        <p:spPr>
          <a:xfrm>
            <a:off x="227772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42"/>
          <p:cNvSpPr txBox="1">
            <a:spLocks noGrp="1"/>
          </p:cNvSpPr>
          <p:nvPr>
            <p:ph type="body" idx="2"/>
          </p:nvPr>
        </p:nvSpPr>
        <p:spPr>
          <a:xfrm>
            <a:off x="6231884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2"/>
          <p:cNvSpPr/>
          <p:nvPr/>
        </p:nvSpPr>
        <p:spPr>
          <a:xfrm>
            <a:off x="6231884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42"/>
          <p:cNvSpPr txBox="1">
            <a:spLocks noGrp="1"/>
          </p:cNvSpPr>
          <p:nvPr>
            <p:ph type="body" idx="3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2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42"/>
          <p:cNvSpPr/>
          <p:nvPr/>
        </p:nvSpPr>
        <p:spPr>
          <a:xfrm>
            <a:off x="2277721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42"/>
          <p:cNvSpPr txBox="1">
            <a:spLocks noGrp="1"/>
          </p:cNvSpPr>
          <p:nvPr>
            <p:ph type="body" idx="4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2"/>
          <p:cNvSpPr/>
          <p:nvPr/>
        </p:nvSpPr>
        <p:spPr>
          <a:xfrm>
            <a:off x="6239447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4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" name="Google Shape;176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7" name="Google Shape;177;p42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Grey">
  <p:cSld name="ICON Grid Boxes 2UP Grey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43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4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p4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43"/>
          <p:cNvSpPr txBox="1">
            <a:spLocks noGrp="1"/>
          </p:cNvSpPr>
          <p:nvPr>
            <p:ph type="body" idx="1"/>
          </p:nvPr>
        </p:nvSpPr>
        <p:spPr>
          <a:xfrm>
            <a:off x="432000" y="2699082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43"/>
          <p:cNvSpPr/>
          <p:nvPr/>
        </p:nvSpPr>
        <p:spPr>
          <a:xfrm>
            <a:off x="432000" y="1691082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43"/>
          <p:cNvSpPr txBox="1">
            <a:spLocks noGrp="1"/>
          </p:cNvSpPr>
          <p:nvPr>
            <p:ph type="body" idx="2"/>
          </p:nvPr>
        </p:nvSpPr>
        <p:spPr>
          <a:xfrm>
            <a:off x="4324378" y="2699082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3"/>
          <p:cNvSpPr/>
          <p:nvPr/>
        </p:nvSpPr>
        <p:spPr>
          <a:xfrm>
            <a:off x="4324378" y="1691082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43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4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" name="Google Shape;188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9" name="Google Shape;189;p43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, Titles 4UP Grey">
  <p:cSld name="TEXT Grid, Titles 4UP Grey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44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44"/>
          <p:cNvSpPr/>
          <p:nvPr/>
        </p:nvSpPr>
        <p:spPr>
          <a:xfrm>
            <a:off x="43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44"/>
          <p:cNvSpPr txBox="1">
            <a:spLocks noGrp="1"/>
          </p:cNvSpPr>
          <p:nvPr>
            <p:ph type="body" idx="1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4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4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44"/>
          <p:cNvSpPr txBox="1">
            <a:spLocks noGrp="1"/>
          </p:cNvSpPr>
          <p:nvPr>
            <p:ph type="body" idx="2"/>
          </p:nvPr>
        </p:nvSpPr>
        <p:spPr>
          <a:xfrm>
            <a:off x="4392000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44"/>
          <p:cNvSpPr/>
          <p:nvPr/>
        </p:nvSpPr>
        <p:spPr>
          <a:xfrm>
            <a:off x="439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p44"/>
          <p:cNvSpPr txBox="1">
            <a:spLocks noGrp="1"/>
          </p:cNvSpPr>
          <p:nvPr>
            <p:ph type="body" idx="3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" name="Google Shape;199;p44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44"/>
          <p:cNvSpPr/>
          <p:nvPr/>
        </p:nvSpPr>
        <p:spPr>
          <a:xfrm>
            <a:off x="43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Google Shape;201;p44"/>
          <p:cNvSpPr txBox="1">
            <a:spLocks noGrp="1"/>
          </p:cNvSpPr>
          <p:nvPr>
            <p:ph type="body" idx="4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" name="Google Shape;202;p44"/>
          <p:cNvSpPr/>
          <p:nvPr/>
        </p:nvSpPr>
        <p:spPr>
          <a:xfrm>
            <a:off x="439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p4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44"/>
          <p:cNvSpPr txBox="1">
            <a:spLocks noGrp="1"/>
          </p:cNvSpPr>
          <p:nvPr>
            <p:ph type="body" idx="5"/>
          </p:nvPr>
        </p:nvSpPr>
        <p:spPr>
          <a:xfrm>
            <a:off x="540000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44"/>
          <p:cNvSpPr txBox="1">
            <a:spLocks noGrp="1"/>
          </p:cNvSpPr>
          <p:nvPr>
            <p:ph type="body" idx="6"/>
          </p:nvPr>
        </p:nvSpPr>
        <p:spPr>
          <a:xfrm>
            <a:off x="4500000" y="1302462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6" name="Google Shape;206;p44"/>
          <p:cNvSpPr txBox="1">
            <a:spLocks noGrp="1"/>
          </p:cNvSpPr>
          <p:nvPr>
            <p:ph type="body" idx="7"/>
          </p:nvPr>
        </p:nvSpPr>
        <p:spPr>
          <a:xfrm>
            <a:off x="54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44"/>
          <p:cNvSpPr txBox="1">
            <a:spLocks noGrp="1"/>
          </p:cNvSpPr>
          <p:nvPr>
            <p:ph type="body" idx="8"/>
          </p:nvPr>
        </p:nvSpPr>
        <p:spPr>
          <a:xfrm>
            <a:off x="450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8" name="Google Shape;208;p4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09" name="Google Shape;209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with Intro">
  <p:cSld name="Icon Grid Boxes 2UP with Intro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45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45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p4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45"/>
          <p:cNvSpPr txBox="1">
            <a:spLocks noGrp="1"/>
          </p:cNvSpPr>
          <p:nvPr>
            <p:ph type="body" idx="1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" name="Google Shape;215;p45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Google Shape;216;p45"/>
          <p:cNvSpPr txBox="1">
            <a:spLocks noGrp="1"/>
          </p:cNvSpPr>
          <p:nvPr>
            <p:ph type="body" idx="2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45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8" name="Google Shape;218;p45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9" name="Google Shape;219;p45"/>
          <p:cNvSpPr txBox="1">
            <a:spLocks noGrp="1"/>
          </p:cNvSpPr>
          <p:nvPr>
            <p:ph type="body" idx="3"/>
          </p:nvPr>
        </p:nvSpPr>
        <p:spPr>
          <a:xfrm>
            <a:off x="432000" y="1735014"/>
            <a:ext cx="3564001" cy="431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0" name="Google Shape;220;p4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21" name="Google Shape;221;p4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22" name="Google Shape;222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3UP">
  <p:cSld name="Icon Grid Boxes 3UP"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46"/>
          <p:cNvSpPr txBox="1">
            <a:spLocks noGrp="1"/>
          </p:cNvSpPr>
          <p:nvPr>
            <p:ph type="body" idx="1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4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4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46"/>
          <p:cNvSpPr/>
          <p:nvPr/>
        </p:nvSpPr>
        <p:spPr>
          <a:xfrm>
            <a:off x="412708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" name="Google Shape;228;p46"/>
          <p:cNvSpPr txBox="1">
            <a:spLocks noGrp="1"/>
          </p:cNvSpPr>
          <p:nvPr>
            <p:ph type="body" idx="2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46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0" name="Google Shape;230;p46"/>
          <p:cNvSpPr txBox="1">
            <a:spLocks noGrp="1"/>
          </p:cNvSpPr>
          <p:nvPr>
            <p:ph type="body" idx="3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46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2" name="Google Shape;232;p46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4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4" name="Google Shape;234;p4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35" name="Google Shape;235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with Intro">
  <p:cSld name="ICON Grid Boxes 4UP with Intro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7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8" name="Google Shape;238;p4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Google Shape;239;p47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0" name="Google Shape;240;p47"/>
          <p:cNvSpPr txBox="1">
            <a:spLocks noGrp="1"/>
          </p:cNvSpPr>
          <p:nvPr>
            <p:ph type="body" idx="1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" name="Google Shape;241;p47"/>
          <p:cNvSpPr/>
          <p:nvPr/>
        </p:nvSpPr>
        <p:spPr>
          <a:xfrm>
            <a:off x="4310428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2" name="Google Shape;242;p47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47"/>
          <p:cNvSpPr/>
          <p:nvPr/>
        </p:nvSpPr>
        <p:spPr>
          <a:xfrm>
            <a:off x="8264591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p47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47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p47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47"/>
          <p:cNvSpPr/>
          <p:nvPr/>
        </p:nvSpPr>
        <p:spPr>
          <a:xfrm>
            <a:off x="8272154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4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49" name="Google Shape;249;p4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" name="Google Shape;250;p47"/>
          <p:cNvSpPr txBox="1">
            <a:spLocks noGrp="1"/>
          </p:cNvSpPr>
          <p:nvPr>
            <p:ph type="body" idx="5"/>
          </p:nvPr>
        </p:nvSpPr>
        <p:spPr>
          <a:xfrm>
            <a:off x="432000" y="1285014"/>
            <a:ext cx="3564001" cy="476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51" name="Google Shape;251;p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4UP +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EBD2400-C5F8-6FA7-2AD7-D6C6E9D59298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A897845-DFE8-7140-BE24-7AD33E02F2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E206611-9F04-2C46-95B1-573726492E29}"/>
              </a:ext>
            </a:extLst>
          </p:cNvPr>
          <p:cNvSpPr/>
          <p:nvPr userDrawn="1"/>
        </p:nvSpPr>
        <p:spPr>
          <a:xfrm>
            <a:off x="4310428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4DF866-0267-6D4B-8CF4-FAFA97285D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C737232C-EBE9-2647-917F-C7C76B087CA4}"/>
              </a:ext>
            </a:extLst>
          </p:cNvPr>
          <p:cNvSpPr/>
          <p:nvPr userDrawn="1"/>
        </p:nvSpPr>
        <p:spPr>
          <a:xfrm>
            <a:off x="8264591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8ADAB78-EE5F-B741-8763-DEC022B42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E29E7FE3-94A7-274E-9C79-62D4A777C7A5}"/>
              </a:ext>
            </a:extLst>
          </p:cNvPr>
          <p:cNvSpPr/>
          <p:nvPr userDrawn="1"/>
        </p:nvSpPr>
        <p:spPr>
          <a:xfrm>
            <a:off x="4310428" y="384628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27DCFD9-112E-A945-955D-F67D14142C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70713629-27C4-A749-B40D-6E3D13CBC59F}"/>
              </a:ext>
            </a:extLst>
          </p:cNvPr>
          <p:cNvSpPr/>
          <p:nvPr userDrawn="1"/>
        </p:nvSpPr>
        <p:spPr>
          <a:xfrm>
            <a:off x="8272154" y="3849215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EA0FBD3D-6E21-E549-967B-395F00EE1908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393014"/>
            <a:ext cx="3564001" cy="4865268"/>
          </a:xfrm>
        </p:spPr>
        <p:txBody>
          <a:bodyPr lIns="0" tIns="0" rIns="0" bIns="0"/>
          <a:lstStyle>
            <a:lvl1pPr marL="0" indent="0">
              <a:buNone/>
              <a:defRPr sz="2200"/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8CEA5C8-040E-A042-A8BE-B661106C8E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63E93DE-B0A0-E448-839F-EC15B688DA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8428" y="1393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728E9EF-F5FD-C54D-A0C4-E79B3934E3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2591" y="1394399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3CE4756-EA5A-644E-8E3C-7A88541176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8428" y="395428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023CEAC-43CB-D349-B655-0C148109A5B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0154" y="395428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116781D-5A03-6141-8389-E5AB404ECD9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6B9BB60-BD70-1857-B877-C41DEC1AF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1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6UP Grey">
  <p:cSld name="ICON Grid Boxes 6UP Grey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49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" name="Google Shape;254;p4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4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6" name="Google Shape;256;p49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49"/>
          <p:cNvSpPr txBox="1">
            <a:spLocks noGrp="1"/>
          </p:cNvSpPr>
          <p:nvPr>
            <p:ph type="body" idx="2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p49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p49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49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49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2" name="Google Shape;262;p49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3" name="Google Shape;263;p49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49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5" name="Google Shape;265;p49"/>
          <p:cNvSpPr/>
          <p:nvPr/>
        </p:nvSpPr>
        <p:spPr>
          <a:xfrm>
            <a:off x="4374434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49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49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4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69" name="Google Shape;269;p4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70" name="Google Shape;270;p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2UP +Intro ">
  <p:cSld name="TEXT Grid Boxes, Titles 2UP +Intro 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50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p5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5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p50"/>
          <p:cNvSpPr txBox="1">
            <a:spLocks noGrp="1"/>
          </p:cNvSpPr>
          <p:nvPr>
            <p:ph type="body" idx="1"/>
          </p:nvPr>
        </p:nvSpPr>
        <p:spPr>
          <a:xfrm>
            <a:off x="4366871" y="2290349"/>
            <a:ext cx="3564000" cy="376437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" name="Google Shape;276;p50"/>
          <p:cNvSpPr/>
          <p:nvPr/>
        </p:nvSpPr>
        <p:spPr>
          <a:xfrm>
            <a:off x="4366871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50"/>
          <p:cNvSpPr txBox="1">
            <a:spLocks noGrp="1"/>
          </p:cNvSpPr>
          <p:nvPr>
            <p:ph type="body" idx="2"/>
          </p:nvPr>
        </p:nvSpPr>
        <p:spPr>
          <a:xfrm>
            <a:off x="8259249" y="2290349"/>
            <a:ext cx="3564000" cy="376437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" name="Google Shape;278;p50"/>
          <p:cNvSpPr/>
          <p:nvPr/>
        </p:nvSpPr>
        <p:spPr>
          <a:xfrm>
            <a:off x="8259249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9" name="Google Shape;279;p50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50"/>
          <p:cNvSpPr txBox="1">
            <a:spLocks noGrp="1"/>
          </p:cNvSpPr>
          <p:nvPr>
            <p:ph type="body" idx="3"/>
          </p:nvPr>
        </p:nvSpPr>
        <p:spPr>
          <a:xfrm>
            <a:off x="432000" y="1285014"/>
            <a:ext cx="3564001" cy="4769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5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50"/>
          <p:cNvSpPr txBox="1">
            <a:spLocks noGrp="1"/>
          </p:cNvSpPr>
          <p:nvPr>
            <p:ph type="body" idx="4"/>
          </p:nvPr>
        </p:nvSpPr>
        <p:spPr>
          <a:xfrm>
            <a:off x="4474871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50"/>
          <p:cNvSpPr txBox="1">
            <a:spLocks noGrp="1"/>
          </p:cNvSpPr>
          <p:nvPr>
            <p:ph type="body" idx="5"/>
          </p:nvPr>
        </p:nvSpPr>
        <p:spPr>
          <a:xfrm>
            <a:off x="8367249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4" name="Google Shape;284;p5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85" name="Google Shape;285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3UP">
  <p:cSld name="TEXT Grid boxes, Titles 3UP"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p51"/>
          <p:cNvSpPr txBox="1">
            <a:spLocks noGrp="1"/>
          </p:cNvSpPr>
          <p:nvPr>
            <p:ph type="body" idx="1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51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p5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51"/>
          <p:cNvSpPr/>
          <p:nvPr/>
        </p:nvSpPr>
        <p:spPr>
          <a:xfrm>
            <a:off x="412708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" name="Google Shape;291;p51"/>
          <p:cNvSpPr txBox="1">
            <a:spLocks noGrp="1"/>
          </p:cNvSpPr>
          <p:nvPr>
            <p:ph type="body" idx="2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2" name="Google Shape;292;p51"/>
          <p:cNvSpPr/>
          <p:nvPr/>
        </p:nvSpPr>
        <p:spPr>
          <a:xfrm>
            <a:off x="4366871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3" name="Google Shape;293;p51"/>
          <p:cNvSpPr txBox="1">
            <a:spLocks noGrp="1"/>
          </p:cNvSpPr>
          <p:nvPr>
            <p:ph type="body" idx="3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51"/>
          <p:cNvSpPr/>
          <p:nvPr/>
        </p:nvSpPr>
        <p:spPr>
          <a:xfrm>
            <a:off x="8259249" y="1735014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51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6" name="Google Shape;296;p5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51"/>
          <p:cNvSpPr txBox="1">
            <a:spLocks noGrp="1"/>
          </p:cNvSpPr>
          <p:nvPr>
            <p:ph type="body" idx="4"/>
          </p:nvPr>
        </p:nvSpPr>
        <p:spPr>
          <a:xfrm>
            <a:off x="520708" y="1897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" name="Google Shape;298;p51"/>
          <p:cNvSpPr txBox="1">
            <a:spLocks noGrp="1"/>
          </p:cNvSpPr>
          <p:nvPr>
            <p:ph type="body" idx="5"/>
          </p:nvPr>
        </p:nvSpPr>
        <p:spPr>
          <a:xfrm>
            <a:off x="4474871" y="1897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" name="Google Shape;299;p51"/>
          <p:cNvSpPr txBox="1">
            <a:spLocks noGrp="1"/>
          </p:cNvSpPr>
          <p:nvPr>
            <p:ph type="body" idx="6"/>
          </p:nvPr>
        </p:nvSpPr>
        <p:spPr>
          <a:xfrm>
            <a:off x="8367249" y="1891996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0" name="Google Shape;300;p5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01" name="Google Shape;301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4UP +Intro">
  <p:cSld name="TEXT Grid boxes, Titles 4UP +Intro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p5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5" name="Google Shape;305;p5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6" name="Google Shape;306;p52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7" name="Google Shape;307;p52"/>
          <p:cNvSpPr txBox="1">
            <a:spLocks noGrp="1"/>
          </p:cNvSpPr>
          <p:nvPr>
            <p:ph type="body" idx="1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52"/>
          <p:cNvSpPr/>
          <p:nvPr/>
        </p:nvSpPr>
        <p:spPr>
          <a:xfrm>
            <a:off x="4310428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9" name="Google Shape;309;p52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52"/>
          <p:cNvSpPr/>
          <p:nvPr/>
        </p:nvSpPr>
        <p:spPr>
          <a:xfrm>
            <a:off x="8264591" y="1285014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1" name="Google Shape;311;p52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52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3" name="Google Shape;313;p52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p52"/>
          <p:cNvSpPr/>
          <p:nvPr/>
        </p:nvSpPr>
        <p:spPr>
          <a:xfrm>
            <a:off x="8272154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52"/>
          <p:cNvSpPr txBox="1">
            <a:spLocks noGrp="1"/>
          </p:cNvSpPr>
          <p:nvPr>
            <p:ph type="body" idx="5"/>
          </p:nvPr>
        </p:nvSpPr>
        <p:spPr>
          <a:xfrm>
            <a:off x="432000" y="1393014"/>
            <a:ext cx="3564001" cy="4865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" name="Google Shape;316;p5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52"/>
          <p:cNvSpPr txBox="1">
            <a:spLocks noGrp="1"/>
          </p:cNvSpPr>
          <p:nvPr>
            <p:ph type="body" idx="6"/>
          </p:nvPr>
        </p:nvSpPr>
        <p:spPr>
          <a:xfrm>
            <a:off x="4418428" y="1393014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" name="Google Shape;318;p52"/>
          <p:cNvSpPr txBox="1">
            <a:spLocks noGrp="1"/>
          </p:cNvSpPr>
          <p:nvPr>
            <p:ph type="body" idx="7"/>
          </p:nvPr>
        </p:nvSpPr>
        <p:spPr>
          <a:xfrm>
            <a:off x="8372591" y="1394399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9" name="Google Shape;319;p52"/>
          <p:cNvSpPr txBox="1">
            <a:spLocks noGrp="1"/>
          </p:cNvSpPr>
          <p:nvPr>
            <p:ph type="body" idx="8"/>
          </p:nvPr>
        </p:nvSpPr>
        <p:spPr>
          <a:xfrm>
            <a:off x="4418428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" name="Google Shape;320;p52"/>
          <p:cNvSpPr txBox="1">
            <a:spLocks noGrp="1"/>
          </p:cNvSpPr>
          <p:nvPr>
            <p:ph type="body" idx="9"/>
          </p:nvPr>
        </p:nvSpPr>
        <p:spPr>
          <a:xfrm>
            <a:off x="8380154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21" name="Google Shape;321;p5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22" name="Google Shape;322;p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5UP">
  <p:cSld name="TEXT Grid boxes, Titles 5UP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5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p5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p53"/>
          <p:cNvSpPr txBox="1">
            <a:spLocks noGrp="1"/>
          </p:cNvSpPr>
          <p:nvPr>
            <p:ph type="body" idx="1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" name="Google Shape;327;p53"/>
          <p:cNvSpPr/>
          <p:nvPr/>
        </p:nvSpPr>
        <p:spPr>
          <a:xfrm>
            <a:off x="2370978" y="1113399"/>
            <a:ext cx="3564000" cy="899876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8" name="Google Shape;328;p53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53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0" name="Google Shape;330;p53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53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2" name="Google Shape;332;p53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3" name="Google Shape;333;p53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" name="Google Shape;334;p53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5" name="Google Shape;335;p53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" name="Google Shape;336;p53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5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" name="Google Shape;338;p53"/>
          <p:cNvSpPr txBox="1">
            <a:spLocks noGrp="1"/>
          </p:cNvSpPr>
          <p:nvPr>
            <p:ph type="body" idx="6"/>
          </p:nvPr>
        </p:nvSpPr>
        <p:spPr>
          <a:xfrm>
            <a:off x="2478978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" name="Google Shape;339;p53"/>
          <p:cNvSpPr txBox="1">
            <a:spLocks noGrp="1"/>
          </p:cNvSpPr>
          <p:nvPr>
            <p:ph type="body" idx="7"/>
          </p:nvPr>
        </p:nvSpPr>
        <p:spPr>
          <a:xfrm>
            <a:off x="6370431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53"/>
          <p:cNvSpPr txBox="1">
            <a:spLocks noGrp="1"/>
          </p:cNvSpPr>
          <p:nvPr>
            <p:ph type="body" idx="8"/>
          </p:nvPr>
        </p:nvSpPr>
        <p:spPr>
          <a:xfrm>
            <a:off x="524490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" name="Google Shape;341;p53"/>
          <p:cNvSpPr txBox="1">
            <a:spLocks noGrp="1"/>
          </p:cNvSpPr>
          <p:nvPr>
            <p:ph type="body" idx="9"/>
          </p:nvPr>
        </p:nvSpPr>
        <p:spPr>
          <a:xfrm>
            <a:off x="4460077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" name="Google Shape;342;p53"/>
          <p:cNvSpPr txBox="1">
            <a:spLocks noGrp="1"/>
          </p:cNvSpPr>
          <p:nvPr>
            <p:ph type="body" idx="13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43" name="Google Shape;343;p5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44" name="Google Shape;344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6UP">
  <p:cSld name="TEXT Grid boxes, Titles 6UP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54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" name="Google Shape;347;p5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Google Shape;348;p5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9" name="Google Shape;349;p54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0" name="Google Shape;350;p54"/>
          <p:cNvSpPr txBox="1">
            <a:spLocks noGrp="1"/>
          </p:cNvSpPr>
          <p:nvPr>
            <p:ph type="body" idx="2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1" name="Google Shape;351;p54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2" name="Google Shape;352;p54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" name="Google Shape;353;p54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4" name="Google Shape;354;p54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" name="Google Shape;355;p54"/>
          <p:cNvSpPr txBox="1"/>
          <p:nvPr/>
        </p:nvSpPr>
        <p:spPr>
          <a:xfrm>
            <a:off x="4700954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6" name="Google Shape;356;p54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7" name="Google Shape;357;p54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8" name="Google Shape;358;p54"/>
          <p:cNvSpPr/>
          <p:nvPr/>
        </p:nvSpPr>
        <p:spPr>
          <a:xfrm>
            <a:off x="4374434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9" name="Google Shape;359;p54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16000" tIns="216000" rIns="216000" bIns="216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0" name="Google Shape;360;p54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1" name="Google Shape;361;p5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54"/>
          <p:cNvSpPr txBox="1">
            <a:spLocks noGrp="1"/>
          </p:cNvSpPr>
          <p:nvPr>
            <p:ph type="body" idx="7"/>
          </p:nvPr>
        </p:nvSpPr>
        <p:spPr>
          <a:xfrm>
            <a:off x="520708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p54"/>
          <p:cNvSpPr txBox="1">
            <a:spLocks noGrp="1"/>
          </p:cNvSpPr>
          <p:nvPr>
            <p:ph type="body" idx="8"/>
          </p:nvPr>
        </p:nvSpPr>
        <p:spPr>
          <a:xfrm>
            <a:off x="4482434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54"/>
          <p:cNvSpPr txBox="1">
            <a:spLocks noGrp="1"/>
          </p:cNvSpPr>
          <p:nvPr>
            <p:ph type="body" idx="9"/>
          </p:nvPr>
        </p:nvSpPr>
        <p:spPr>
          <a:xfrm>
            <a:off x="8367249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" name="Google Shape;365;p54"/>
          <p:cNvSpPr txBox="1">
            <a:spLocks noGrp="1"/>
          </p:cNvSpPr>
          <p:nvPr>
            <p:ph type="body" idx="13"/>
          </p:nvPr>
        </p:nvSpPr>
        <p:spPr>
          <a:xfrm>
            <a:off x="520708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" name="Google Shape;366;p54"/>
          <p:cNvSpPr txBox="1">
            <a:spLocks noGrp="1"/>
          </p:cNvSpPr>
          <p:nvPr>
            <p:ph type="body" idx="14"/>
          </p:nvPr>
        </p:nvSpPr>
        <p:spPr>
          <a:xfrm>
            <a:off x="4482434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54"/>
          <p:cNvSpPr txBox="1">
            <a:spLocks noGrp="1"/>
          </p:cNvSpPr>
          <p:nvPr>
            <p:ph type="body" idx="15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8" name="Google Shape;368;p5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69" name="Google Shape;369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image">
  <p:cSld name="Full page image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55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2" name="Google Shape;372;p5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3" name="Google Shape;373;p55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blue">
  <p:cSld name="Quote blue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56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6" name="Google Shape;376;p5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7" name="Google Shape;377;p56"/>
          <p:cNvSpPr txBox="1">
            <a:spLocks noGrp="1"/>
          </p:cNvSpPr>
          <p:nvPr>
            <p:ph type="body" idx="1"/>
          </p:nvPr>
        </p:nvSpPr>
        <p:spPr>
          <a:xfrm>
            <a:off x="537224" y="1314156"/>
            <a:ext cx="7503849" cy="3466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p56"/>
          <p:cNvSpPr txBox="1">
            <a:spLocks noGrp="1"/>
          </p:cNvSpPr>
          <p:nvPr>
            <p:ph type="body" idx="2"/>
          </p:nvPr>
        </p:nvSpPr>
        <p:spPr>
          <a:xfrm>
            <a:off x="828000" y="4780883"/>
            <a:ext cx="7503849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9" name="Google Shape;379;p5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80" name="Google Shape;380;p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"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2" name="Google Shape;382;p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83" name="Google Shape;383;p57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4" name="Google Shape;384;p5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5" name="Google Shape;385;p5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86" name="Google Shape;386;p57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8" name="Google Shape;388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89" name="Google Shape;389;p5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0" name="Google Shape;390;p58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1" name="Google Shape;391;p58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92" name="Google Shape;392;p58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5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2370978" y="1113399"/>
            <a:ext cx="3564000" cy="899876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6257024" y="1090988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39760" y="375104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61316BA-3A2D-A349-8FD8-DEAD56529B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EC696E9-078C-3E45-8DCD-5A562EAEB2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978" y="122850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7258850-67A6-DA45-BCA6-3A1843C3D9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70431" y="122850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9D36508-91C9-D341-BD22-8B7D09BC1D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4490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A46B0EB-2090-6B41-BC96-DD563B676C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60077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DEAB9F2-4319-8F40-BA4F-1ED7E30638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7249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63BFC66-CD6B-7E4B-8089-7EA6B13C54A5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5778E56-0E45-B720-1A87-18BF82CED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6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4" name="Google Shape;394;p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5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59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5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8" name="Google Shape;398;p5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6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60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2" name="Google Shape;402;p6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3" name="Google Shape;403;p60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404" name="Google Shape;404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 2"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6" name="Google Shape;406;p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07" name="Google Shape;407;p6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8" name="Google Shape;408;p61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9" name="Google Shape;409;p61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10" name="Google Shape;410;p61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" name="Google Shape;411;p61"/>
          <p:cNvSpPr txBox="1"/>
          <p:nvPr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 2"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" name="Google Shape;413;p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14" name="Google Shape;414;p6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5" name="Google Shape;415;p62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6" name="Google Shape;416;p6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17" name="Google Shape;417;p62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8" name="Google Shape;418;p62"/>
          <p:cNvSpPr txBox="1"/>
          <p:nvPr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 2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0" name="Google Shape;420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21" name="Google Shape;421;p6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2" name="Google Shape;422;p6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3" name="Google Shape;423;p6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4" name="Google Shape;424;p63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25" name="Google Shape;425;p63"/>
          <p:cNvSpPr txBox="1"/>
          <p:nvPr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-GB" sz="2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 2"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Google Shape;427;p6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8" name="Google Shape;428;p6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" name="Google Shape;429;p6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0" name="Google Shape;430;p64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431" name="Google Shape;431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32" name="Google Shape;432;p64"/>
          <p:cNvSpPr txBox="1"/>
          <p:nvPr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-GB" sz="2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reaker Heading1-Blue-DarkBlueA">
  <p:cSld name="5_Breaker Heading1-Blue-DarkBlueA"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4" name="Google Shape;434;p65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35" name="Google Shape;435;p65"/>
          <p:cNvSpPr txBox="1">
            <a:spLocks noGrp="1"/>
          </p:cNvSpPr>
          <p:nvPr>
            <p:ph type="body" idx="1"/>
          </p:nvPr>
        </p:nvSpPr>
        <p:spPr>
          <a:xfrm>
            <a:off x="882932" y="3564000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6" name="Google Shape;436;p65"/>
          <p:cNvSpPr txBox="1">
            <a:spLocks noGrp="1"/>
          </p:cNvSpPr>
          <p:nvPr>
            <p:ph type="body" idx="2"/>
          </p:nvPr>
        </p:nvSpPr>
        <p:spPr>
          <a:xfrm>
            <a:off x="882932" y="2520000"/>
            <a:ext cx="6948488" cy="963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" name="Google Shape;437;p6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reaker Heading1-Blue-DarkBlueA">
  <p:cSld name="6_Breaker Heading1-Blue-DarkBlueA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66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40" name="Google Shape;440;p66" descr="Chart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16747" y="-121920"/>
            <a:ext cx="12408747" cy="6979920"/>
          </a:xfrm>
          <a:prstGeom prst="rect">
            <a:avLst/>
          </a:prstGeom>
          <a:noFill/>
          <a:ln>
            <a:noFill/>
          </a:ln>
        </p:spPr>
      </p:pic>
      <p:sp>
        <p:nvSpPr>
          <p:cNvPr id="441" name="Google Shape;441;p66"/>
          <p:cNvSpPr txBox="1">
            <a:spLocks noGrp="1"/>
          </p:cNvSpPr>
          <p:nvPr>
            <p:ph type="body" idx="1"/>
          </p:nvPr>
        </p:nvSpPr>
        <p:spPr>
          <a:xfrm>
            <a:off x="612000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66"/>
          <p:cNvSpPr txBox="1">
            <a:spLocks noGrp="1"/>
          </p:cNvSpPr>
          <p:nvPr>
            <p:ph type="body" idx="2"/>
          </p:nvPr>
        </p:nvSpPr>
        <p:spPr>
          <a:xfrm>
            <a:off x="612000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3" name="Google Shape;443;p6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slide with image A">
  <p:cSld name="1_Headline slide with image A"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68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46" name="Google Shape;446;p68"/>
          <p:cNvSpPr/>
          <p:nvPr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" name="Google Shape;447;p68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8" name="Google Shape;448;p68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p68"/>
          <p:cNvSpPr txBox="1">
            <a:spLocks noGrp="1"/>
          </p:cNvSpPr>
          <p:nvPr>
            <p:ph type="body" idx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" name="Google Shape;450;p68"/>
          <p:cNvSpPr txBox="1">
            <a:spLocks noGrp="1"/>
          </p:cNvSpPr>
          <p:nvPr>
            <p:ph type="body" idx="3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ACCESSIBLE">
  <p:cSld name="End Slide ACCESSIBLE"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2" name="Google Shape;452;p69"/>
          <p:cNvCxnSpPr/>
          <p:nvPr/>
        </p:nvCxnSpPr>
        <p:spPr>
          <a:xfrm>
            <a:off x="5715926" y="2605852"/>
            <a:ext cx="865108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3" name="Google Shape;453;p6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69"/>
          <p:cNvSpPr txBox="1"/>
          <p:nvPr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EB8"/>
              </a:buClr>
              <a:buSzPts val="3600"/>
              <a:buFont typeface="Arial"/>
              <a:buNone/>
            </a:pPr>
            <a:r>
              <a:rPr lang="en-GB"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Thank You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@nhsenglan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company/nhsengland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5EB8"/>
              </a:buClr>
              <a:buSzPts val="24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	england.nhs.uk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5" name="Google Shape;455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6" name="Google Shape;456;p6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7" name="Google Shape;457;p6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58" name="Google Shape;458;p69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51045" y="364425"/>
            <a:ext cx="1208955" cy="979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9" name="Google Shape;459;p69" descr="Icon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400000">
            <a:off x="-2509143" y="-71523"/>
            <a:ext cx="10768951" cy="761623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6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74434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FEA82EC-5F70-2C43-B773-938E8FCB9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B9F8E112-B1EA-6542-A337-A038C269AD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0708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36E8D2E-4AD7-3342-855A-6E726FEDA3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2434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4380DA1-D506-154B-828B-630201A38F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7249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EF0A95D-85EC-7E4C-87ED-A15257D0B0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708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B38F8DE-42A5-1243-AE49-5247BD8167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434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4DB68FB-4DB7-1741-9BB7-E3E914ECFD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7249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5C03302-9DA8-744E-AE94-FF1801AB2637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29B64CD-1CC9-E09E-D868-6F5395EB9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6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1">
  <p:cSld name="Data 1"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70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7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" name="Google Shape;463;p70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70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5" name="Google Shape;465;p70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66" name="Google Shape;466;p7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67" name="Google Shape;46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ata 1">
  <p:cSld name="1_Data 1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71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71"/>
          <p:cNvSpPr txBox="1">
            <a:spLocks noGrp="1"/>
          </p:cNvSpPr>
          <p:nvPr>
            <p:ph type="title"/>
          </p:nvPr>
        </p:nvSpPr>
        <p:spPr>
          <a:xfrm>
            <a:off x="432000" y="310075"/>
            <a:ext cx="11404154" cy="426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71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7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3" name="Google Shape;473;p71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74" name="Google Shape;474;p7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75" name="Google Shape;475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476" name="Google Shape;476;p71"/>
          <p:cNvSpPr txBox="1">
            <a:spLocks noGrp="1"/>
          </p:cNvSpPr>
          <p:nvPr>
            <p:ph type="body" idx="1"/>
          </p:nvPr>
        </p:nvSpPr>
        <p:spPr>
          <a:xfrm>
            <a:off x="432001" y="7672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2">
  <p:cSld name="Data 2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p7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9" name="Google Shape;479;p7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" name="Google Shape;480;p7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1" name="Google Shape;481;p7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2" name="Google Shape;482;p72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83" name="Google Shape;483;p7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84" name="Google Shape;484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3">
  <p:cSld name="Data 3"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73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7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" name="Google Shape;488;p73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73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0" name="Google Shape;490;p73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91" name="Google Shape;491;p7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92" name="Google Shape;492;p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1_Headline and image with header 1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7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5" name="Google Shape;495;p7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4">
  <p:cSld name="2_Headline and image with header 4"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p7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8" name="Google Shape;498;p75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7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75"/>
          <p:cNvSpPr txBox="1"/>
          <p:nvPr/>
        </p:nvSpPr>
        <p:spPr>
          <a:xfrm>
            <a:off x="7202551" y="2249424"/>
            <a:ext cx="442814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and image with header 4">
  <p:cSld name="Headline and image with header 4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7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7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4" name="Google Shape;504;p7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 1" type="obj">
  <p:cSld name="OBJECT">
    <p:bg>
      <p:bgPr>
        <a:solidFill>
          <a:srgbClr val="E8EDEE"/>
        </a:solidFill>
        <a:effectLst/>
      </p:bgPr>
    </p:bg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g29397999d40_6_75"/>
          <p:cNvSpPr txBox="1">
            <a:spLocks noGrp="1"/>
          </p:cNvSpPr>
          <p:nvPr>
            <p:ph type="sldNum" idx="12"/>
          </p:nvPr>
        </p:nvSpPr>
        <p:spPr>
          <a:xfrm>
            <a:off x="8737599" y="6356351"/>
            <a:ext cx="3030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07" name="Google Shape;507;g29397999d40_6_75"/>
          <p:cNvSpPr/>
          <p:nvPr/>
        </p:nvSpPr>
        <p:spPr>
          <a:xfrm>
            <a:off x="-17125" y="1160525"/>
            <a:ext cx="12209100" cy="5820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8" name="Google Shape;508;g29397999d40_6_75"/>
          <p:cNvSpPr txBox="1">
            <a:spLocks noGrp="1"/>
          </p:cNvSpPr>
          <p:nvPr>
            <p:ph type="title"/>
          </p:nvPr>
        </p:nvSpPr>
        <p:spPr>
          <a:xfrm>
            <a:off x="623392" y="356659"/>
            <a:ext cx="10176000" cy="70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40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09" name="Google Shape;509;g29397999d40_6_75"/>
          <p:cNvSpPr txBox="1">
            <a:spLocks noGrp="1"/>
          </p:cNvSpPr>
          <p:nvPr>
            <p:ph type="body" idx="1"/>
          </p:nvPr>
        </p:nvSpPr>
        <p:spPr>
          <a:xfrm>
            <a:off x="414676" y="1508787"/>
            <a:ext cx="11328300" cy="45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 sz="1867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»"/>
              <a:defRPr sz="1600">
                <a:solidFill>
                  <a:schemeClr val="dk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8pPr>
            <a:lvl9pPr marL="4114800" lvl="8" indent="-3048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510" name="Google Shape;510;g29397999d40_6_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687032" y="395300"/>
            <a:ext cx="2189775" cy="5766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bg>
      <p:bgPr>
        <a:solidFill>
          <a:schemeClr val="lt1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5"/>
          <p:cNvSpPr/>
          <p:nvPr/>
        </p:nvSpPr>
        <p:spPr>
          <a:xfrm>
            <a:off x="-17125" y="1160525"/>
            <a:ext cx="12209200" cy="5820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15"/>
          <p:cNvSpPr txBox="1">
            <a:spLocks noGrp="1"/>
          </p:cNvSpPr>
          <p:nvPr>
            <p:ph type="title"/>
          </p:nvPr>
        </p:nvSpPr>
        <p:spPr>
          <a:xfrm>
            <a:off x="623392" y="356659"/>
            <a:ext cx="10176000" cy="7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Arial"/>
              <a:buNone/>
              <a:defRPr sz="4000" b="1">
                <a:solidFill>
                  <a:srgbClr val="FFFFFF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body" idx="1"/>
          </p:nvPr>
        </p:nvSpPr>
        <p:spPr>
          <a:xfrm>
            <a:off x="414676" y="1508787"/>
            <a:ext cx="11328400" cy="45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5718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>
                <a:solidFill>
                  <a:schemeClr val="dk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 sz="1867">
                <a:solidFill>
                  <a:schemeClr val="dk1"/>
                </a:solidFill>
              </a:defRPr>
            </a:lvl2pPr>
            <a:lvl3pPr marL="1828754" lvl="2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3pPr>
            <a:lvl4pPr marL="2438339" lvl="3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600">
                <a:solidFill>
                  <a:schemeClr val="dk1"/>
                </a:solidFill>
              </a:defRPr>
            </a:lvl4pPr>
            <a:lvl5pPr marL="3047924" lvl="4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»"/>
              <a:defRPr sz="1600">
                <a:solidFill>
                  <a:schemeClr val="dk1"/>
                </a:solidFill>
              </a:defRPr>
            </a:lvl5pPr>
            <a:lvl6pPr marL="3657509" lvl="5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6pPr>
            <a:lvl7pPr marL="4267093" lvl="6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7pPr>
            <a:lvl8pPr marL="4876678" lvl="7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8pPr>
            <a:lvl9pPr marL="5486263" lvl="8" indent="-40639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62" name="Google Shape;62;p15"/>
          <p:cNvPicPr preferRelativeResize="0"/>
          <p:nvPr/>
        </p:nvPicPr>
        <p:blipFill rotWithShape="1">
          <a:blip r:embed="rId2">
            <a:alphaModFix/>
          </a:blip>
          <a:srcRect r="20641"/>
          <a:stretch/>
        </p:blipFill>
        <p:spPr>
          <a:xfrm>
            <a:off x="9936432" y="251734"/>
            <a:ext cx="1528867" cy="8860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344043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head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A60DD58-05DE-E835-E697-CB9A9B0B94E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</p:spPr>
        <p:txBody>
          <a:bodyPr lIns="0" tIns="0" rIns="0" bIns="0" numCol="2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BB79D01-2A70-DAF1-6A65-BC0424C2FE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7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959E3C-5FB4-790C-CF99-8945D267023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3656E6-FF78-F94F-8811-84EB59CAC3BF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2522558-9EFB-4BAA-9B27-3CE888AC527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mage icon in centre to insert a photo</a:t>
            </a:r>
            <a:br>
              <a:rPr lang="en-GB"/>
            </a:br>
            <a:r>
              <a:rPr lang="en-GB"/>
              <a:t>(don’t forget to add Alt Text to image)</a:t>
            </a:r>
          </a:p>
        </p:txBody>
      </p:sp>
    </p:spTree>
    <p:extLst>
      <p:ext uri="{BB962C8B-B14F-4D97-AF65-F5344CB8AC3E}">
        <p14:creationId xmlns:p14="http://schemas.microsoft.com/office/powerpoint/2010/main" val="22926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850676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, subhead, bullets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F09CFFC-C421-A97A-14A3-FE2852D11994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771D90-A686-C949-8872-F69893BCF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D5CE1C-46DF-8846-A4A0-E19A9CC397B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4955267-CD3E-4484-1B20-32E90EB4ED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24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title slide">
  <p:cSld name="Front title slide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" name="Google Shape;58;p14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30720" y="-508517"/>
            <a:ext cx="11319583" cy="8005665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14"/>
          <p:cNvSpPr txBox="1">
            <a:spLocks noGrp="1"/>
          </p:cNvSpPr>
          <p:nvPr>
            <p:ph type="ctrTitle"/>
          </p:nvPr>
        </p:nvSpPr>
        <p:spPr>
          <a:xfrm>
            <a:off x="432000" y="1002268"/>
            <a:ext cx="4644000" cy="25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5467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4"/>
          <p:cNvSpPr txBox="1">
            <a:spLocks noGrp="1"/>
          </p:cNvSpPr>
          <p:nvPr>
            <p:ph type="subTitle" idx="1"/>
          </p:nvPr>
        </p:nvSpPr>
        <p:spPr>
          <a:xfrm>
            <a:off x="432000" y="3600000"/>
            <a:ext cx="7973200" cy="102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2100"/>
              <a:buNone/>
              <a:defRPr sz="2800">
                <a:solidFill>
                  <a:schemeClr val="accent6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 sz="1867"/>
            </a:lvl3pPr>
            <a:lvl4pPr lvl="3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3002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62" name="Google Shape;62;p14"/>
          <p:cNvSpPr txBox="1"/>
          <p:nvPr/>
        </p:nvSpPr>
        <p:spPr>
          <a:xfrm>
            <a:off x="3225115" y="601774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14"/>
          <p:cNvSpPr txBox="1">
            <a:spLocks noGrp="1"/>
          </p:cNvSpPr>
          <p:nvPr>
            <p:ph type="body" idx="2"/>
          </p:nvPr>
        </p:nvSpPr>
        <p:spPr>
          <a:xfrm>
            <a:off x="432000" y="5760000"/>
            <a:ext cx="6259600" cy="4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 sz="2400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500"/>
              <a:buNone/>
              <a:defRPr>
                <a:solidFill>
                  <a:schemeClr val="accent2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14"/>
          <p:cNvSpPr txBox="1"/>
          <p:nvPr/>
        </p:nvSpPr>
        <p:spPr>
          <a:xfrm>
            <a:off x="9233452" y="5486400"/>
            <a:ext cx="184800" cy="37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5" name="Google Shape;65;p14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51045" y="364426"/>
            <a:ext cx="1208955" cy="979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746682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eading, content, basic text one col">
  <p:cSld name="Heading, content, basic text one col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68;p15"/>
          <p:cNvSpPr txBox="1">
            <a:spLocks noGrp="1"/>
          </p:cNvSpPr>
          <p:nvPr>
            <p:ph type="title"/>
          </p:nvPr>
        </p:nvSpPr>
        <p:spPr>
          <a:xfrm>
            <a:off x="347413" y="3166643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5"/>
          <p:cNvSpPr txBox="1">
            <a:spLocks noGrp="1"/>
          </p:cNvSpPr>
          <p:nvPr>
            <p:ph type="body" idx="1"/>
          </p:nvPr>
        </p:nvSpPr>
        <p:spPr>
          <a:xfrm>
            <a:off x="412708" y="2106000"/>
            <a:ext cx="7632000" cy="4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267" b="0">
                <a:solidFill>
                  <a:schemeClr val="accent6"/>
                </a:solidFill>
              </a:defRPr>
            </a:lvl1pPr>
            <a:lvl2pPr marL="1219170" lvl="1" indent="-44872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2pPr>
            <a:lvl3pPr marL="1828754" lvl="2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2438339" lvl="3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3047924" lvl="4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1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1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" name="Google Shape;72;p1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0816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reaker Heading1-Blue-DarkBlueA">
  <p:cSld name="5_Breaker Heading1-Blue-DarkBlueA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Google Shape;74;p16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5" name="Google Shape;75;p16"/>
          <p:cNvSpPr txBox="1">
            <a:spLocks noGrp="1"/>
          </p:cNvSpPr>
          <p:nvPr>
            <p:ph type="body" idx="1"/>
          </p:nvPr>
        </p:nvSpPr>
        <p:spPr>
          <a:xfrm>
            <a:off x="882932" y="3564000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16"/>
          <p:cNvSpPr txBox="1">
            <a:spLocks noGrp="1"/>
          </p:cNvSpPr>
          <p:nvPr>
            <p:ph type="body" idx="2"/>
          </p:nvPr>
        </p:nvSpPr>
        <p:spPr>
          <a:xfrm>
            <a:off x="882932" y="2520000"/>
            <a:ext cx="6948400" cy="9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62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reaker Heading1-Blue-DarkBlueA">
  <p:cSld name="6_Breaker Heading1-Blue-DarkBlueA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0" name="Google Shape;80;p17" descr="Chart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16747" y="-121919"/>
            <a:ext cx="12408747" cy="6979921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17"/>
          <p:cNvSpPr txBox="1">
            <a:spLocks noGrp="1"/>
          </p:cNvSpPr>
          <p:nvPr>
            <p:ph type="body" idx="1"/>
          </p:nvPr>
        </p:nvSpPr>
        <p:spPr>
          <a:xfrm>
            <a:off x="612000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2"/>
          </p:nvPr>
        </p:nvSpPr>
        <p:spPr>
          <a:xfrm>
            <a:off x="612000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1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557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slide with image A">
  <p:cSld name="1_Headline slide with image A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8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6" name="Google Shape;86;p18"/>
          <p:cNvSpPr/>
          <p:nvPr/>
        </p:nvSpPr>
        <p:spPr>
          <a:xfrm>
            <a:off x="0" y="0"/>
            <a:ext cx="60960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1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1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p18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18"/>
          <p:cNvSpPr txBox="1">
            <a:spLocks noGrp="1"/>
          </p:cNvSpPr>
          <p:nvPr>
            <p:ph type="body" idx="3"/>
          </p:nvPr>
        </p:nvSpPr>
        <p:spPr>
          <a:xfrm>
            <a:off x="891916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751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reaker Heading1-Blue-DarkBlueA">
  <p:cSld name="8_Breaker Heading1-Blue-DarkBlueA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9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3" name="Google Shape;93;p19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2265" y="-122411"/>
            <a:ext cx="12499929" cy="7031208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19"/>
          <p:cNvSpPr txBox="1">
            <a:spLocks noGrp="1"/>
          </p:cNvSpPr>
          <p:nvPr>
            <p:ph type="body" idx="2"/>
          </p:nvPr>
        </p:nvSpPr>
        <p:spPr>
          <a:xfrm>
            <a:off x="891916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1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71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Heading, subhead, bullets one column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0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" name="Google Shape;99;p20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1219170" lvl="1" indent="-44872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828754" lvl="2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2438339" lvl="3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3047924" lvl="4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20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800" cy="5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2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102;p2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04" name="Google Shape;104;p2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5" name="Google Shape;10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92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1_Title, subhead, two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21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1219170" lvl="1" indent="-44872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828754" lvl="2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2438339" lvl="3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3047924" lvl="4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21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" name="Google Shape;111;p2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2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13" name="Google Shape;113;p21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4" name="Google Shape;114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246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0190978-5FC4-6858-371C-AF3DAD50E21F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F1649F8-C95E-B04E-A0E7-F89193CC9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7224" y="1314156"/>
            <a:ext cx="7503849" cy="3466727"/>
          </a:xfrm>
          <a:prstGeom prst="rect">
            <a:avLst/>
          </a:prstGeom>
        </p:spPr>
        <p:txBody>
          <a:bodyPr>
            <a:noAutofit/>
          </a:bodyPr>
          <a:lstStyle>
            <a:lvl1pPr marL="288000" indent="-288000" algn="l">
              <a:buNone/>
              <a:defRPr sz="42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Showcase quotation</a:t>
            </a:r>
            <a:br>
              <a:rPr lang="en-GB"/>
            </a:br>
            <a:r>
              <a:rPr lang="en-GB"/>
              <a:t>with left aligned text over multiple lines. Try to keep</a:t>
            </a:r>
            <a:br>
              <a:rPr lang="en-GB"/>
            </a:br>
            <a:r>
              <a:rPr lang="en-GB"/>
              <a:t>it to four lines if </a:t>
            </a:r>
            <a:r>
              <a:rPr lang="en-GB" err="1"/>
              <a:t>poss</a:t>
            </a:r>
            <a:r>
              <a:rPr lang="en-GB"/>
              <a:t> or five lines max.”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406466E-798B-BE4C-B09F-C1B1244AA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4780883"/>
            <a:ext cx="7503849" cy="8969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Name Surname,</a:t>
            </a:r>
            <a:br>
              <a:rPr lang="en-GB"/>
            </a:br>
            <a:r>
              <a:rPr lang="en-GB"/>
              <a:t>Job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3FE3F0-85CD-934D-A3A3-CF2B78D73A35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A86FEEE-9136-D68E-6360-B4FDD6D917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4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hree columns">
  <p:cSld name="2_Title, subhead, Three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22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22"/>
          <p:cNvSpPr txBox="1">
            <a:spLocks noGrp="1"/>
          </p:cNvSpPr>
          <p:nvPr>
            <p:ph type="body"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1219170" lvl="1" indent="-44872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828754" lvl="2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2438339" lvl="3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3047924" lvl="4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22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2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2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2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2" name="Google Shape;122;p22"/>
          <p:cNvCxnSpPr/>
          <p:nvPr/>
        </p:nvCxnSpPr>
        <p:spPr>
          <a:xfrm>
            <a:off x="432000" y="63487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3" name="Google Shape;123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574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slide with image A">
  <p:cSld name="Headline slide with image A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23"/>
          <p:cNvSpPr/>
          <p:nvPr/>
        </p:nvSpPr>
        <p:spPr>
          <a:xfrm>
            <a:off x="0" y="0"/>
            <a:ext cx="60960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23"/>
          <p:cNvSpPr txBox="1">
            <a:spLocks noGrp="1"/>
          </p:cNvSpPr>
          <p:nvPr>
            <p:ph type="title"/>
          </p:nvPr>
        </p:nvSpPr>
        <p:spPr>
          <a:xfrm>
            <a:off x="354093" y="1647568"/>
            <a:ext cx="4909600" cy="31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" name="Google Shape;128;p2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23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59052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Quote large Centred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4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" name="Google Shape;132;p2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24"/>
          <p:cNvSpPr txBox="1">
            <a:spLocks noGrp="1"/>
          </p:cNvSpPr>
          <p:nvPr>
            <p:ph type="body" idx="1"/>
          </p:nvPr>
        </p:nvSpPr>
        <p:spPr>
          <a:xfrm>
            <a:off x="1214367" y="1180299"/>
            <a:ext cx="9811200" cy="2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24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35" name="Google Shape;135;p24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6" name="Google Shape;136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036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with Intro">
  <p:cSld name="Icon Grid Boxes 2UP with Intro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25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139;p2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" name="Google Shape;140;p2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" name="Google Shape;141;p25"/>
          <p:cNvSpPr txBox="1">
            <a:spLocks noGrp="1"/>
          </p:cNvSpPr>
          <p:nvPr>
            <p:ph type="body" idx="1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2" name="Google Shape;142;p25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" name="Google Shape;143;p25"/>
          <p:cNvSpPr txBox="1">
            <a:spLocks noGrp="1"/>
          </p:cNvSpPr>
          <p:nvPr>
            <p:ph type="body" idx="2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25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25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5"/>
          <p:cNvSpPr txBox="1">
            <a:spLocks noGrp="1"/>
          </p:cNvSpPr>
          <p:nvPr>
            <p:ph type="body" idx="3"/>
          </p:nvPr>
        </p:nvSpPr>
        <p:spPr>
          <a:xfrm>
            <a:off x="432000" y="1735015"/>
            <a:ext cx="3564000" cy="43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2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48" name="Google Shape;148;p2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9" name="Google Shape;14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683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3UP">
  <p:cSld name="Icon Grid Boxes 3UP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6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26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2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26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26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26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26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26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26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0" name="Google Shape;160;p2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61" name="Google Shape;161;p2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62" name="Google Shape;162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119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Grey">
  <p:cSld name="ICON Grid Boxes 4UP Grey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7"/>
          <p:cNvSpPr txBox="1">
            <a:spLocks noGrp="1"/>
          </p:cNvSpPr>
          <p:nvPr>
            <p:ph type="body" idx="1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2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2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27"/>
          <p:cNvSpPr/>
          <p:nvPr/>
        </p:nvSpPr>
        <p:spPr>
          <a:xfrm>
            <a:off x="227772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27"/>
          <p:cNvSpPr txBox="1">
            <a:spLocks noGrp="1"/>
          </p:cNvSpPr>
          <p:nvPr>
            <p:ph type="body" idx="2"/>
          </p:nvPr>
        </p:nvSpPr>
        <p:spPr>
          <a:xfrm>
            <a:off x="6231884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27"/>
          <p:cNvSpPr/>
          <p:nvPr/>
        </p:nvSpPr>
        <p:spPr>
          <a:xfrm>
            <a:off x="6231884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27"/>
          <p:cNvSpPr txBox="1">
            <a:spLocks noGrp="1"/>
          </p:cNvSpPr>
          <p:nvPr>
            <p:ph type="body" idx="3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27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27"/>
          <p:cNvSpPr/>
          <p:nvPr/>
        </p:nvSpPr>
        <p:spPr>
          <a:xfrm>
            <a:off x="2277721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27"/>
          <p:cNvSpPr txBox="1">
            <a:spLocks noGrp="1"/>
          </p:cNvSpPr>
          <p:nvPr>
            <p:ph type="body" idx="4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27"/>
          <p:cNvSpPr/>
          <p:nvPr/>
        </p:nvSpPr>
        <p:spPr>
          <a:xfrm>
            <a:off x="6239447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2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76" name="Google Shape;176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7" name="Google Shape;177;p27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9646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with Intro">
  <p:cSld name="ICON Grid Boxes 4UP with Intro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2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p28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28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28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8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28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28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28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8" name="Google Shape;188;p28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28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2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91" name="Google Shape;191;p2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" name="Google Shape;192;p28"/>
          <p:cNvSpPr txBox="1">
            <a:spLocks noGrp="1"/>
          </p:cNvSpPr>
          <p:nvPr>
            <p:ph type="body" idx="5"/>
          </p:nvPr>
        </p:nvSpPr>
        <p:spPr>
          <a:xfrm>
            <a:off x="432000" y="1285015"/>
            <a:ext cx="3564000" cy="4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pic>
        <p:nvPicPr>
          <p:cNvPr id="193" name="Google Shape;193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21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5UP">
  <p:cSld name="ICON Grid boxes 5UP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2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2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29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29"/>
          <p:cNvSpPr/>
          <p:nvPr/>
        </p:nvSpPr>
        <p:spPr>
          <a:xfrm>
            <a:off x="2370979" y="1089953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29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0" name="Google Shape;200;p29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Google Shape;201;p29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2" name="Google Shape;202;p2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p29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Google Shape;204;p29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29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29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29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8" name="Google Shape;208;p2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209" name="Google Shape;209;p2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10" name="Google Shape;210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6124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6UP Grey">
  <p:cSld name="ICON Grid Boxes 6UP Grey"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30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3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3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5" name="Google Shape;215;p30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Google Shape;216;p30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30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30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0" name="Google Shape;220;p30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21" name="Google Shape;221;p30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2" name="Google Shape;222;p30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3" name="Google Shape;223;p30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24" name="Google Shape;224;p30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5" name="Google Shape;225;p30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30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3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228" name="Google Shape;228;p3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29" name="Google Shape;229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700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2UP +Intro ">
  <p:cSld name="TEXT Grid Boxes, Titles 2UP +Intro 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3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2" name="Google Shape;232;p3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3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4" name="Google Shape;234;p31"/>
          <p:cNvSpPr txBox="1">
            <a:spLocks noGrp="1"/>
          </p:cNvSpPr>
          <p:nvPr>
            <p:ph type="body" idx="1"/>
          </p:nvPr>
        </p:nvSpPr>
        <p:spPr>
          <a:xfrm>
            <a:off x="4366871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31"/>
          <p:cNvSpPr/>
          <p:nvPr/>
        </p:nvSpPr>
        <p:spPr>
          <a:xfrm>
            <a:off x="4366871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0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6" name="Google Shape;236;p31"/>
          <p:cNvSpPr txBox="1">
            <a:spLocks noGrp="1"/>
          </p:cNvSpPr>
          <p:nvPr>
            <p:ph type="body" idx="2"/>
          </p:nvPr>
        </p:nvSpPr>
        <p:spPr>
          <a:xfrm>
            <a:off x="8259249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31"/>
          <p:cNvSpPr/>
          <p:nvPr/>
        </p:nvSpPr>
        <p:spPr>
          <a:xfrm>
            <a:off x="8259249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8" name="Google Shape;238;p31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Google Shape;239;p31"/>
          <p:cNvSpPr txBox="1">
            <a:spLocks noGrp="1"/>
          </p:cNvSpPr>
          <p:nvPr>
            <p:ph type="body" idx="3"/>
          </p:nvPr>
        </p:nvSpPr>
        <p:spPr>
          <a:xfrm>
            <a:off x="432000" y="1285015"/>
            <a:ext cx="3564000" cy="4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3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31"/>
          <p:cNvSpPr txBox="1">
            <a:spLocks noGrp="1"/>
          </p:cNvSpPr>
          <p:nvPr>
            <p:ph type="body" idx="4"/>
          </p:nvPr>
        </p:nvSpPr>
        <p:spPr>
          <a:xfrm>
            <a:off x="4474871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42" name="Google Shape;242;p31"/>
          <p:cNvSpPr txBox="1">
            <a:spLocks noGrp="1"/>
          </p:cNvSpPr>
          <p:nvPr>
            <p:ph type="body" idx="5"/>
          </p:nvPr>
        </p:nvSpPr>
        <p:spPr>
          <a:xfrm>
            <a:off x="8367249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243" name="Google Shape;243;p3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4" name="Google Shape;244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392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43F37B1-1F8A-2CA4-9D19-C0E420FB4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</p:spTree>
    <p:extLst>
      <p:ext uri="{BB962C8B-B14F-4D97-AF65-F5344CB8AC3E}">
        <p14:creationId xmlns:p14="http://schemas.microsoft.com/office/powerpoint/2010/main" val="361573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3UP">
  <p:cSld name="TEXT Grid boxes, Titles 3UP"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2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3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3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Google Shape;249;p32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0" name="Google Shape;250;p32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32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2" name="Google Shape;252;p32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3" name="Google Shape;253;p32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4" name="Google Shape;254;p32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3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32"/>
          <p:cNvSpPr txBox="1">
            <a:spLocks noGrp="1"/>
          </p:cNvSpPr>
          <p:nvPr>
            <p:ph type="body" idx="4"/>
          </p:nvPr>
        </p:nvSpPr>
        <p:spPr>
          <a:xfrm>
            <a:off x="520708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7" name="Google Shape;257;p32"/>
          <p:cNvSpPr txBox="1">
            <a:spLocks noGrp="1"/>
          </p:cNvSpPr>
          <p:nvPr>
            <p:ph type="body" idx="5"/>
          </p:nvPr>
        </p:nvSpPr>
        <p:spPr>
          <a:xfrm>
            <a:off x="4474871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p32"/>
          <p:cNvSpPr txBox="1">
            <a:spLocks noGrp="1"/>
          </p:cNvSpPr>
          <p:nvPr>
            <p:ph type="body" idx="6"/>
          </p:nvPr>
        </p:nvSpPr>
        <p:spPr>
          <a:xfrm>
            <a:off x="8367249" y="1891996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259" name="Google Shape;259;p3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60" name="Google Shape;260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416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4UP +Intro">
  <p:cSld name="TEXT Grid boxes, Titles 4UP +Intro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33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3" name="Google Shape;263;p3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3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5" name="Google Shape;265;p33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33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33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33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9" name="Google Shape;269;p33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33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p33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33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33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33"/>
          <p:cNvSpPr txBox="1">
            <a:spLocks noGrp="1"/>
          </p:cNvSpPr>
          <p:nvPr>
            <p:ph type="body" idx="5"/>
          </p:nvPr>
        </p:nvSpPr>
        <p:spPr>
          <a:xfrm>
            <a:off x="432000" y="1393015"/>
            <a:ext cx="3564000" cy="4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3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33"/>
          <p:cNvSpPr txBox="1">
            <a:spLocks noGrp="1"/>
          </p:cNvSpPr>
          <p:nvPr>
            <p:ph type="body" idx="6"/>
          </p:nvPr>
        </p:nvSpPr>
        <p:spPr>
          <a:xfrm>
            <a:off x="4418428" y="1393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7" name="Google Shape;277;p33"/>
          <p:cNvSpPr txBox="1">
            <a:spLocks noGrp="1"/>
          </p:cNvSpPr>
          <p:nvPr>
            <p:ph type="body" idx="7"/>
          </p:nvPr>
        </p:nvSpPr>
        <p:spPr>
          <a:xfrm>
            <a:off x="8372591" y="1394399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8" name="Google Shape;278;p33"/>
          <p:cNvSpPr txBox="1">
            <a:spLocks noGrp="1"/>
          </p:cNvSpPr>
          <p:nvPr>
            <p:ph type="body" idx="8"/>
          </p:nvPr>
        </p:nvSpPr>
        <p:spPr>
          <a:xfrm>
            <a:off x="4418428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p33"/>
          <p:cNvSpPr txBox="1">
            <a:spLocks noGrp="1"/>
          </p:cNvSpPr>
          <p:nvPr>
            <p:ph type="body" idx="9"/>
          </p:nvPr>
        </p:nvSpPr>
        <p:spPr>
          <a:xfrm>
            <a:off x="8380155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280" name="Google Shape;280;p3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81" name="Google Shape;281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369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5UP">
  <p:cSld name="TEXT Grid boxes, Titles 5UP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34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4" name="Google Shape;284;p3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34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6" name="Google Shape;286;p34"/>
          <p:cNvSpPr/>
          <p:nvPr/>
        </p:nvSpPr>
        <p:spPr>
          <a:xfrm>
            <a:off x="2370979" y="1113399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7" name="Google Shape;287;p34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34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p34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34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" name="Google Shape;291;p34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Google Shape;292;p34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34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4" name="Google Shape;294;p34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ctr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5" name="Google Shape;295;p34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6" name="Google Shape;296;p3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34"/>
          <p:cNvSpPr txBox="1">
            <a:spLocks noGrp="1"/>
          </p:cNvSpPr>
          <p:nvPr>
            <p:ph type="body" idx="6"/>
          </p:nvPr>
        </p:nvSpPr>
        <p:spPr>
          <a:xfrm>
            <a:off x="2478979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8" name="Google Shape;298;p34"/>
          <p:cNvSpPr txBox="1">
            <a:spLocks noGrp="1"/>
          </p:cNvSpPr>
          <p:nvPr>
            <p:ph type="body" idx="7"/>
          </p:nvPr>
        </p:nvSpPr>
        <p:spPr>
          <a:xfrm>
            <a:off x="6370431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9" name="Google Shape;299;p34"/>
          <p:cNvSpPr txBox="1">
            <a:spLocks noGrp="1"/>
          </p:cNvSpPr>
          <p:nvPr>
            <p:ph type="body" idx="8"/>
          </p:nvPr>
        </p:nvSpPr>
        <p:spPr>
          <a:xfrm>
            <a:off x="52448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00" name="Google Shape;300;p34"/>
          <p:cNvSpPr txBox="1">
            <a:spLocks noGrp="1"/>
          </p:cNvSpPr>
          <p:nvPr>
            <p:ph type="body" idx="9"/>
          </p:nvPr>
        </p:nvSpPr>
        <p:spPr>
          <a:xfrm>
            <a:off x="4460077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01" name="Google Shape;301;p34"/>
          <p:cNvSpPr txBox="1">
            <a:spLocks noGrp="1"/>
          </p:cNvSpPr>
          <p:nvPr>
            <p:ph type="body" idx="13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302" name="Google Shape;302;p3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03" name="Google Shape;303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651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6UP">
  <p:cSld name="TEXT Grid boxes, Titles 6UP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35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06" name="Google Shape;306;p3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7" name="Google Shape;307;p3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8" name="Google Shape;308;p35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9" name="Google Shape;309;p35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35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1" name="Google Shape;311;p35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35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3" name="Google Shape;313;p35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p35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35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6" name="Google Shape;316;p35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7" name="Google Shape;317;p35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8" name="Google Shape;318;p35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9" name="Google Shape;319;p35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3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35"/>
          <p:cNvSpPr txBox="1">
            <a:spLocks noGrp="1"/>
          </p:cNvSpPr>
          <p:nvPr>
            <p:ph type="body" idx="7"/>
          </p:nvPr>
        </p:nvSpPr>
        <p:spPr>
          <a:xfrm>
            <a:off x="520708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35"/>
          <p:cNvSpPr txBox="1">
            <a:spLocks noGrp="1"/>
          </p:cNvSpPr>
          <p:nvPr>
            <p:ph type="body" idx="8"/>
          </p:nvPr>
        </p:nvSpPr>
        <p:spPr>
          <a:xfrm>
            <a:off x="4482433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3" name="Google Shape;323;p35"/>
          <p:cNvSpPr txBox="1">
            <a:spLocks noGrp="1"/>
          </p:cNvSpPr>
          <p:nvPr>
            <p:ph type="body" idx="9"/>
          </p:nvPr>
        </p:nvSpPr>
        <p:spPr>
          <a:xfrm>
            <a:off x="8367249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35"/>
          <p:cNvSpPr txBox="1">
            <a:spLocks noGrp="1"/>
          </p:cNvSpPr>
          <p:nvPr>
            <p:ph type="body" idx="13"/>
          </p:nvPr>
        </p:nvSpPr>
        <p:spPr>
          <a:xfrm>
            <a:off x="520708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5" name="Google Shape;325;p35"/>
          <p:cNvSpPr txBox="1">
            <a:spLocks noGrp="1"/>
          </p:cNvSpPr>
          <p:nvPr>
            <p:ph type="body" idx="14"/>
          </p:nvPr>
        </p:nvSpPr>
        <p:spPr>
          <a:xfrm>
            <a:off x="4482433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6" name="Google Shape;326;p35"/>
          <p:cNvSpPr txBox="1">
            <a:spLocks noGrp="1"/>
          </p:cNvSpPr>
          <p:nvPr>
            <p:ph type="body" idx="15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327" name="Google Shape;327;p3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28" name="Google Shape;328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523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"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0" name="Google Shape;330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31" name="Google Shape;331;p3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2" name="Google Shape;332;p3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3" name="Google Shape;333;p3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34" name="Google Shape;334;p36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600" cy="6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35" name="Google Shape;335;p36"/>
          <p:cNvSpPr txBox="1"/>
          <p:nvPr/>
        </p:nvSpPr>
        <p:spPr>
          <a:xfrm>
            <a:off x="1245609" y="2349016"/>
            <a:ext cx="3552800" cy="1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/>
          </a:p>
        </p:txBody>
      </p:sp>
    </p:spTree>
    <p:extLst>
      <p:ext uri="{BB962C8B-B14F-4D97-AF65-F5344CB8AC3E}">
        <p14:creationId xmlns:p14="http://schemas.microsoft.com/office/powerpoint/2010/main" val="244087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" name="Google Shape;337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Google Shape;338;p3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3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p3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41" name="Google Shape;341;p37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600" cy="6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42" name="Google Shape;342;p37"/>
          <p:cNvSpPr txBox="1"/>
          <p:nvPr/>
        </p:nvSpPr>
        <p:spPr>
          <a:xfrm>
            <a:off x="1245609" y="2349016"/>
            <a:ext cx="3552800" cy="1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/>
          </a:p>
        </p:txBody>
      </p:sp>
    </p:spTree>
    <p:extLst>
      <p:ext uri="{BB962C8B-B14F-4D97-AF65-F5344CB8AC3E}">
        <p14:creationId xmlns:p14="http://schemas.microsoft.com/office/powerpoint/2010/main" val="174376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4" name="Google Shape;344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45" name="Google Shape;345;p3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6" name="Google Shape;346;p38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7" name="Google Shape;347;p3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Google Shape;348;p38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49" name="Google Shape;349;p38"/>
          <p:cNvSpPr txBox="1"/>
          <p:nvPr/>
        </p:nvSpPr>
        <p:spPr>
          <a:xfrm>
            <a:off x="1245609" y="2349016"/>
            <a:ext cx="3552800" cy="13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/>
          </a:p>
        </p:txBody>
      </p:sp>
    </p:spTree>
    <p:extLst>
      <p:ext uri="{BB962C8B-B14F-4D97-AF65-F5344CB8AC3E}">
        <p14:creationId xmlns:p14="http://schemas.microsoft.com/office/powerpoint/2010/main" val="319275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">
    <p:spTree>
      <p:nvGrpSpPr>
        <p:cNvPr id="1" name="Shape 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Google Shape;351;p3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2" name="Google Shape;352;p39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4" name="Google Shape;354;p39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355" name="Google Shape;355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Google Shape;356;p39"/>
          <p:cNvSpPr txBox="1"/>
          <p:nvPr/>
        </p:nvSpPr>
        <p:spPr>
          <a:xfrm>
            <a:off x="1245609" y="2349016"/>
            <a:ext cx="3552800" cy="13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/>
          </a:p>
        </p:txBody>
      </p:sp>
    </p:spTree>
    <p:extLst>
      <p:ext uri="{BB962C8B-B14F-4D97-AF65-F5344CB8AC3E}">
        <p14:creationId xmlns:p14="http://schemas.microsoft.com/office/powerpoint/2010/main" val="102182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image">
  <p:cSld name="Full page image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40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9" name="Google Shape;359;p4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0" name="Google Shape;360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9694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ata 1">
  <p:cSld name="1_Data 1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4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3" name="Google Shape;363;p41"/>
          <p:cNvSpPr txBox="1">
            <a:spLocks noGrp="1"/>
          </p:cNvSpPr>
          <p:nvPr>
            <p:ph type="title"/>
          </p:nvPr>
        </p:nvSpPr>
        <p:spPr>
          <a:xfrm>
            <a:off x="432000" y="310075"/>
            <a:ext cx="11404400" cy="4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4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5" name="Google Shape;365;p4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6" name="Google Shape;366;p41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67" name="Google Shape;367;p4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68" name="Google Shape;368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369" name="Google Shape;369;p41"/>
          <p:cNvSpPr txBox="1">
            <a:spLocks noGrp="1"/>
          </p:cNvSpPr>
          <p:nvPr>
            <p:ph type="body" idx="1"/>
          </p:nvPr>
        </p:nvSpPr>
        <p:spPr>
          <a:xfrm>
            <a:off x="432001" y="767200"/>
            <a:ext cx="11012800" cy="5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7473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A16B251-D1BB-394C-319F-40E8F04D7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</p:spTree>
    <p:extLst>
      <p:ext uri="{BB962C8B-B14F-4D97-AF65-F5344CB8AC3E}">
        <p14:creationId xmlns:p14="http://schemas.microsoft.com/office/powerpoint/2010/main" val="149609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1">
  <p:cSld name="Data 1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42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2" name="Google Shape;372;p4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4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4" name="Google Shape;374;p4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5" name="Google Shape;375;p42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76" name="Google Shape;376;p4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77" name="Google Shape;377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678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2">
  <p:cSld name="Data 2"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43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4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81" name="Google Shape;381;p4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4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3" name="Google Shape;383;p43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4" name="Google Shape;384;p4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85" name="Google Shape;385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283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3">
  <p:cSld name="Data 3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44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8" name="Google Shape;388;p4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44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0" name="Google Shape;390;p4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1" name="Google Shape;391;p44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92" name="Google Shape;392;p4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93" name="Google Shape;393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896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ACCESSIBLE">
  <p:cSld name="End Slide ACCESSIBLE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5" name="Google Shape;395;p45"/>
          <p:cNvCxnSpPr/>
          <p:nvPr/>
        </p:nvCxnSpPr>
        <p:spPr>
          <a:xfrm>
            <a:off x="5715927" y="2605852"/>
            <a:ext cx="8652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" name="Google Shape;396;p4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45"/>
          <p:cNvSpPr txBox="1"/>
          <p:nvPr/>
        </p:nvSpPr>
        <p:spPr>
          <a:xfrm>
            <a:off x="5610769" y="2808747"/>
            <a:ext cx="4343600" cy="26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EB8"/>
              </a:buClr>
              <a:buSzPts val="2700"/>
              <a:buFont typeface="Arial"/>
              <a:buNone/>
            </a:pPr>
            <a:r>
              <a:rPr lang="en"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Thank You</a:t>
            </a:r>
            <a:endParaRPr sz="1467"/>
          </a:p>
          <a:p>
            <a:pPr marL="0" marR="0" lvl="0" indent="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@nhsengland</a:t>
            </a:r>
            <a:endParaRPr sz="1467"/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company/nhsengland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	england.nhs.uk</a:t>
            </a:r>
            <a:endParaRPr sz="24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8" name="Google Shape;398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72040" y="3665235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99" name="Google Shape;399;p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00" name="Google Shape;400;p4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67075" y="4806523"/>
            <a:ext cx="600076" cy="6000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01" name="Google Shape;401;p45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51045" y="364426"/>
            <a:ext cx="1208955" cy="979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02" name="Google Shape;402;p45" descr="Icon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400000">
            <a:off x="-2509141" y="-71522"/>
            <a:ext cx="10768951" cy="76162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550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ample-Icons-Layout">
  <p:cSld name="Sample-Icons-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4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05" name="Google Shape;405;p46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6" name="Google Shape;406;p4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7" name="Google Shape;407;p4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" name="Google Shape;408;p46"/>
          <p:cNvSpPr/>
          <p:nvPr/>
        </p:nvSpPr>
        <p:spPr>
          <a:xfrm>
            <a:off x="38305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9" name="Google Shape;409;p46"/>
          <p:cNvSpPr/>
          <p:nvPr/>
        </p:nvSpPr>
        <p:spPr>
          <a:xfrm>
            <a:off x="38305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0" name="Google Shape;410;p46"/>
          <p:cNvSpPr/>
          <p:nvPr/>
        </p:nvSpPr>
        <p:spPr>
          <a:xfrm>
            <a:off x="1534525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1" name="Google Shape;411;p46"/>
          <p:cNvSpPr/>
          <p:nvPr/>
        </p:nvSpPr>
        <p:spPr>
          <a:xfrm>
            <a:off x="2685992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2" name="Google Shape;412;p46"/>
          <p:cNvSpPr/>
          <p:nvPr/>
        </p:nvSpPr>
        <p:spPr>
          <a:xfrm>
            <a:off x="3837459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3" name="Google Shape;413;p46"/>
          <p:cNvSpPr/>
          <p:nvPr/>
        </p:nvSpPr>
        <p:spPr>
          <a:xfrm>
            <a:off x="498892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4" name="Google Shape;414;p46"/>
          <p:cNvSpPr/>
          <p:nvPr/>
        </p:nvSpPr>
        <p:spPr>
          <a:xfrm>
            <a:off x="6140393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5" name="Google Shape;415;p46"/>
          <p:cNvSpPr/>
          <p:nvPr/>
        </p:nvSpPr>
        <p:spPr>
          <a:xfrm>
            <a:off x="7291860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6" name="Google Shape;416;p46"/>
          <p:cNvSpPr/>
          <p:nvPr/>
        </p:nvSpPr>
        <p:spPr>
          <a:xfrm>
            <a:off x="844332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7" name="Google Shape;417;p46"/>
          <p:cNvSpPr/>
          <p:nvPr/>
        </p:nvSpPr>
        <p:spPr>
          <a:xfrm>
            <a:off x="9594795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8" name="Google Shape;418;p46"/>
          <p:cNvSpPr/>
          <p:nvPr/>
        </p:nvSpPr>
        <p:spPr>
          <a:xfrm>
            <a:off x="10746259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9" name="Google Shape;419;p46"/>
          <p:cNvSpPr/>
          <p:nvPr/>
        </p:nvSpPr>
        <p:spPr>
          <a:xfrm>
            <a:off x="1534525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0" name="Google Shape;420;p46"/>
          <p:cNvSpPr/>
          <p:nvPr/>
        </p:nvSpPr>
        <p:spPr>
          <a:xfrm>
            <a:off x="2685992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1" name="Google Shape;421;p46"/>
          <p:cNvSpPr/>
          <p:nvPr/>
        </p:nvSpPr>
        <p:spPr>
          <a:xfrm>
            <a:off x="3837459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2" name="Google Shape;422;p46"/>
          <p:cNvSpPr/>
          <p:nvPr/>
        </p:nvSpPr>
        <p:spPr>
          <a:xfrm>
            <a:off x="498892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3" name="Google Shape;423;p46"/>
          <p:cNvSpPr/>
          <p:nvPr/>
        </p:nvSpPr>
        <p:spPr>
          <a:xfrm>
            <a:off x="6140393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4" name="Google Shape;424;p46"/>
          <p:cNvSpPr/>
          <p:nvPr/>
        </p:nvSpPr>
        <p:spPr>
          <a:xfrm>
            <a:off x="7291860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5" name="Google Shape;425;p46"/>
          <p:cNvSpPr/>
          <p:nvPr/>
        </p:nvSpPr>
        <p:spPr>
          <a:xfrm>
            <a:off x="844332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6" name="Google Shape;426;p46"/>
          <p:cNvSpPr/>
          <p:nvPr/>
        </p:nvSpPr>
        <p:spPr>
          <a:xfrm>
            <a:off x="9594795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7" name="Google Shape;427;p46"/>
          <p:cNvSpPr/>
          <p:nvPr/>
        </p:nvSpPr>
        <p:spPr>
          <a:xfrm>
            <a:off x="10746259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8" name="Google Shape;428;p46"/>
          <p:cNvSpPr/>
          <p:nvPr/>
        </p:nvSpPr>
        <p:spPr>
          <a:xfrm>
            <a:off x="38305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" name="Google Shape;429;p46"/>
          <p:cNvSpPr/>
          <p:nvPr/>
        </p:nvSpPr>
        <p:spPr>
          <a:xfrm>
            <a:off x="1534525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0" name="Google Shape;430;p46"/>
          <p:cNvSpPr/>
          <p:nvPr/>
        </p:nvSpPr>
        <p:spPr>
          <a:xfrm>
            <a:off x="2685992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1" name="Google Shape;431;p46"/>
          <p:cNvSpPr/>
          <p:nvPr/>
        </p:nvSpPr>
        <p:spPr>
          <a:xfrm>
            <a:off x="3837459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2" name="Google Shape;432;p46"/>
          <p:cNvSpPr/>
          <p:nvPr/>
        </p:nvSpPr>
        <p:spPr>
          <a:xfrm>
            <a:off x="498892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3" name="Google Shape;433;p46"/>
          <p:cNvSpPr/>
          <p:nvPr/>
        </p:nvSpPr>
        <p:spPr>
          <a:xfrm>
            <a:off x="6140393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Google Shape;434;p46"/>
          <p:cNvSpPr/>
          <p:nvPr/>
        </p:nvSpPr>
        <p:spPr>
          <a:xfrm>
            <a:off x="7291860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5" name="Google Shape;435;p46"/>
          <p:cNvSpPr/>
          <p:nvPr/>
        </p:nvSpPr>
        <p:spPr>
          <a:xfrm>
            <a:off x="844332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46"/>
          <p:cNvSpPr/>
          <p:nvPr/>
        </p:nvSpPr>
        <p:spPr>
          <a:xfrm>
            <a:off x="9594795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46"/>
          <p:cNvSpPr/>
          <p:nvPr/>
        </p:nvSpPr>
        <p:spPr>
          <a:xfrm>
            <a:off x="10746259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8" name="Google Shape;438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117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ample-Icons-Layout">
  <p:cSld name="1_Sample-Icons-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47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1" name="Google Shape;441;p4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2" name="Google Shape;442;p4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43" name="Google Shape;443;p4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7"/>
          <p:cNvSpPr/>
          <p:nvPr/>
        </p:nvSpPr>
        <p:spPr>
          <a:xfrm>
            <a:off x="383057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5" name="Google Shape;445;p47"/>
          <p:cNvSpPr/>
          <p:nvPr/>
        </p:nvSpPr>
        <p:spPr>
          <a:xfrm>
            <a:off x="1534525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p47"/>
          <p:cNvSpPr/>
          <p:nvPr/>
        </p:nvSpPr>
        <p:spPr>
          <a:xfrm>
            <a:off x="2685992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" name="Google Shape;447;p47"/>
          <p:cNvSpPr/>
          <p:nvPr/>
        </p:nvSpPr>
        <p:spPr>
          <a:xfrm>
            <a:off x="3837459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8" name="Google Shape;448;p47"/>
          <p:cNvSpPr/>
          <p:nvPr/>
        </p:nvSpPr>
        <p:spPr>
          <a:xfrm>
            <a:off x="383057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p47"/>
          <p:cNvSpPr/>
          <p:nvPr/>
        </p:nvSpPr>
        <p:spPr>
          <a:xfrm>
            <a:off x="1534525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0" name="Google Shape;450;p47"/>
          <p:cNvSpPr/>
          <p:nvPr/>
        </p:nvSpPr>
        <p:spPr>
          <a:xfrm>
            <a:off x="2685992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Google Shape;451;p47"/>
          <p:cNvSpPr/>
          <p:nvPr/>
        </p:nvSpPr>
        <p:spPr>
          <a:xfrm>
            <a:off x="3837459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2" name="Google Shape;452;p47"/>
          <p:cNvSpPr/>
          <p:nvPr/>
        </p:nvSpPr>
        <p:spPr>
          <a:xfrm>
            <a:off x="5122911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3" name="Google Shape;453;p47"/>
          <p:cNvSpPr/>
          <p:nvPr/>
        </p:nvSpPr>
        <p:spPr>
          <a:xfrm>
            <a:off x="7474153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47"/>
          <p:cNvSpPr/>
          <p:nvPr/>
        </p:nvSpPr>
        <p:spPr>
          <a:xfrm>
            <a:off x="9825395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5" name="Google Shape;455;p4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456" name="Google Shape;456;p4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880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wo columns">
  <p:cSld name="2_Title, subhead, two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p48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9" name="Google Shape;459;p48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1219170" lvl="1" indent="-44872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828754" lvl="2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2438339" lvl="3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3047924" lvl="4" indent="-44872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60" name="Google Shape;460;p48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61" name="Google Shape;461;p4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4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3" name="Google Shape;463;p4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464" name="Google Shape;464;p48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65" name="Google Shape;465;p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58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Grey">
  <p:cSld name="ICON Grid Boxes 2UP Grey"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p49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8" name="Google Shape;468;p4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4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49"/>
          <p:cNvSpPr txBox="1">
            <a:spLocks noGrp="1"/>
          </p:cNvSpPr>
          <p:nvPr>
            <p:ph type="body" idx="1"/>
          </p:nvPr>
        </p:nvSpPr>
        <p:spPr>
          <a:xfrm>
            <a:off x="432000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71" name="Google Shape;471;p49"/>
          <p:cNvSpPr/>
          <p:nvPr/>
        </p:nvSpPr>
        <p:spPr>
          <a:xfrm>
            <a:off x="432000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49"/>
          <p:cNvSpPr txBox="1">
            <a:spLocks noGrp="1"/>
          </p:cNvSpPr>
          <p:nvPr>
            <p:ph type="body" idx="2"/>
          </p:nvPr>
        </p:nvSpPr>
        <p:spPr>
          <a:xfrm>
            <a:off x="4324379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73" name="Google Shape;473;p49"/>
          <p:cNvSpPr/>
          <p:nvPr/>
        </p:nvSpPr>
        <p:spPr>
          <a:xfrm>
            <a:off x="4324379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4" name="Google Shape;474;p4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5" name="Google Shape;475;p4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476" name="Google Shape;476;p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77" name="Google Shape;477;p49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99764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, Titles 4UP Grey">
  <p:cSld name="TEXT Grid, Titles 4UP Grey"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Google Shape;479;p50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0" name="Google Shape;480;p50"/>
          <p:cNvSpPr/>
          <p:nvPr/>
        </p:nvSpPr>
        <p:spPr>
          <a:xfrm>
            <a:off x="43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1" name="Google Shape;481;p50"/>
          <p:cNvSpPr txBox="1">
            <a:spLocks noGrp="1"/>
          </p:cNvSpPr>
          <p:nvPr>
            <p:ph type="body" idx="1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82" name="Google Shape;482;p5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3" name="Google Shape;483;p5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4" name="Google Shape;484;p50"/>
          <p:cNvSpPr txBox="1">
            <a:spLocks noGrp="1"/>
          </p:cNvSpPr>
          <p:nvPr>
            <p:ph type="body" idx="2"/>
          </p:nvPr>
        </p:nvSpPr>
        <p:spPr>
          <a:xfrm>
            <a:off x="4392000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85" name="Google Shape;485;p50"/>
          <p:cNvSpPr/>
          <p:nvPr/>
        </p:nvSpPr>
        <p:spPr>
          <a:xfrm>
            <a:off x="439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6" name="Google Shape;486;p50"/>
          <p:cNvSpPr txBox="1">
            <a:spLocks noGrp="1"/>
          </p:cNvSpPr>
          <p:nvPr>
            <p:ph type="body" idx="3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87" name="Google Shape;487;p50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8" name="Google Shape;488;p50"/>
          <p:cNvSpPr/>
          <p:nvPr/>
        </p:nvSpPr>
        <p:spPr>
          <a:xfrm>
            <a:off x="43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50"/>
          <p:cNvSpPr txBox="1">
            <a:spLocks noGrp="1"/>
          </p:cNvSpPr>
          <p:nvPr>
            <p:ph type="body" idx="4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609585" lvl="0" indent="-304792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90" name="Google Shape;490;p50"/>
          <p:cNvSpPr/>
          <p:nvPr/>
        </p:nvSpPr>
        <p:spPr>
          <a:xfrm>
            <a:off x="439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1" name="Google Shape;491;p5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92" name="Google Shape;492;p50"/>
          <p:cNvSpPr txBox="1">
            <a:spLocks noGrp="1"/>
          </p:cNvSpPr>
          <p:nvPr>
            <p:ph type="body" idx="5"/>
          </p:nvPr>
        </p:nvSpPr>
        <p:spPr>
          <a:xfrm>
            <a:off x="540000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93" name="Google Shape;493;p50"/>
          <p:cNvSpPr txBox="1">
            <a:spLocks noGrp="1"/>
          </p:cNvSpPr>
          <p:nvPr>
            <p:ph type="body" idx="6"/>
          </p:nvPr>
        </p:nvSpPr>
        <p:spPr>
          <a:xfrm>
            <a:off x="4500000" y="1302463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94" name="Google Shape;494;p50"/>
          <p:cNvSpPr txBox="1">
            <a:spLocks noGrp="1"/>
          </p:cNvSpPr>
          <p:nvPr>
            <p:ph type="body" idx="7"/>
          </p:nvPr>
        </p:nvSpPr>
        <p:spPr>
          <a:xfrm>
            <a:off x="54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95" name="Google Shape;495;p50"/>
          <p:cNvSpPr txBox="1">
            <a:spLocks noGrp="1"/>
          </p:cNvSpPr>
          <p:nvPr>
            <p:ph type="body" idx="8"/>
          </p:nvPr>
        </p:nvSpPr>
        <p:spPr>
          <a:xfrm>
            <a:off x="450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609585" lvl="0" indent="-304792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496" name="Google Shape;496;p5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97" name="Google Shape;497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862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blue">
  <p:cSld name="Quote blue">
    <p:spTree>
      <p:nvGrpSpPr>
        <p:cNvPr id="1" name="Shape 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Google Shape;499;p5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5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1" name="Google Shape;501;p51"/>
          <p:cNvSpPr txBox="1">
            <a:spLocks noGrp="1"/>
          </p:cNvSpPr>
          <p:nvPr>
            <p:ph type="body" idx="1"/>
          </p:nvPr>
        </p:nvSpPr>
        <p:spPr>
          <a:xfrm>
            <a:off x="537224" y="1314156"/>
            <a:ext cx="7504000" cy="34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02" name="Google Shape;502;p51"/>
          <p:cNvSpPr txBox="1">
            <a:spLocks noGrp="1"/>
          </p:cNvSpPr>
          <p:nvPr>
            <p:ph type="body" idx="2"/>
          </p:nvPr>
        </p:nvSpPr>
        <p:spPr>
          <a:xfrm>
            <a:off x="828000" y="4780883"/>
            <a:ext cx="7504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503" name="Google Shape;503;p5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04" name="Google Shape;504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83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2196E5-15CA-15E3-1E10-32B3D19927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52C93B3-5A12-5AAD-2ACF-93939EE7FB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</p:spTree>
    <p:extLst>
      <p:ext uri="{BB962C8B-B14F-4D97-AF65-F5344CB8AC3E}">
        <p14:creationId xmlns:p14="http://schemas.microsoft.com/office/powerpoint/2010/main" val="198536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reaker Heading1-Blue-DarkBlueA">
  <p:cSld name="7_Breaker Heading1-Blue-DarkBlueA"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6" name="Google Shape;506;p52" descr="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507" name="Google Shape;507;p52"/>
          <p:cNvSpPr txBox="1">
            <a:spLocks noGrp="1"/>
          </p:cNvSpPr>
          <p:nvPr>
            <p:ph type="body" idx="1"/>
          </p:nvPr>
        </p:nvSpPr>
        <p:spPr>
          <a:xfrm>
            <a:off x="854599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08" name="Google Shape;508;p52"/>
          <p:cNvSpPr txBox="1">
            <a:spLocks noGrp="1"/>
          </p:cNvSpPr>
          <p:nvPr>
            <p:ph type="body" idx="2"/>
          </p:nvPr>
        </p:nvSpPr>
        <p:spPr>
          <a:xfrm>
            <a:off x="854599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5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828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1_Headline and image with header 1"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5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5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069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2_Headline and image with header 1"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5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5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13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1">
  <p:cSld name="2_Headline and image with header 1"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" name="Google Shape;514;p5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5" name="Google Shape;515;p5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68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4">
  <p:cSld name="2_Headline and image with header 4"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Google Shape;517;p5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55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9" name="Google Shape;519;p5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0" name="Google Shape;520;p55"/>
          <p:cNvSpPr txBox="1"/>
          <p:nvPr/>
        </p:nvSpPr>
        <p:spPr>
          <a:xfrm>
            <a:off x="7202551" y="2249424"/>
            <a:ext cx="4428000" cy="12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/>
          </a:p>
        </p:txBody>
      </p:sp>
    </p:spTree>
    <p:extLst>
      <p:ext uri="{BB962C8B-B14F-4D97-AF65-F5344CB8AC3E}">
        <p14:creationId xmlns:p14="http://schemas.microsoft.com/office/powerpoint/2010/main" val="143694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and image with header 4">
  <p:cSld name="Headline and image with header 4"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Google Shape;522;p5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3" name="Google Shape;523;p5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4" name="Google Shape;524;p5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498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4">
  <p:cSld name="1_Headline and image with header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" name="Google Shape;526;p5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7" name="Google Shape;527;p57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8" name="Google Shape;528;p5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494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A7B0BA1-E61A-5019-0AA4-5328CA2AB0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B4F947-0C85-DAF2-683C-40847EF7F0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03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ple-Icons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68E66E-4300-C34D-B490-E2E6A73E585A}"/>
              </a:ext>
            </a:extLst>
          </p:cNvPr>
          <p:cNvSpPr/>
          <p:nvPr userDrawn="1"/>
        </p:nvSpPr>
        <p:spPr>
          <a:xfrm>
            <a:off x="3830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37980B-A75B-014B-A7A8-965882204640}"/>
              </a:ext>
            </a:extLst>
          </p:cNvPr>
          <p:cNvSpPr/>
          <p:nvPr userDrawn="1"/>
        </p:nvSpPr>
        <p:spPr>
          <a:xfrm>
            <a:off x="1534525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B5FF7D-C2EF-9E4C-A4CF-A835052E5DF8}"/>
              </a:ext>
            </a:extLst>
          </p:cNvPr>
          <p:cNvSpPr/>
          <p:nvPr userDrawn="1"/>
        </p:nvSpPr>
        <p:spPr>
          <a:xfrm>
            <a:off x="2685992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7481C1-F4F0-BE4E-B991-152BB9620270}"/>
              </a:ext>
            </a:extLst>
          </p:cNvPr>
          <p:cNvSpPr/>
          <p:nvPr userDrawn="1"/>
        </p:nvSpPr>
        <p:spPr>
          <a:xfrm>
            <a:off x="3837459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FBC860F-BE8A-634D-9A96-33CE6D96B9F0}"/>
              </a:ext>
            </a:extLst>
          </p:cNvPr>
          <p:cNvSpPr/>
          <p:nvPr userDrawn="1"/>
        </p:nvSpPr>
        <p:spPr>
          <a:xfrm>
            <a:off x="4988926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A913FF-786C-1944-BF18-E9AB064B3444}"/>
              </a:ext>
            </a:extLst>
          </p:cNvPr>
          <p:cNvSpPr/>
          <p:nvPr userDrawn="1"/>
        </p:nvSpPr>
        <p:spPr>
          <a:xfrm>
            <a:off x="6140393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22D839-E390-8340-B649-B4FC5A6CFD70}"/>
              </a:ext>
            </a:extLst>
          </p:cNvPr>
          <p:cNvSpPr/>
          <p:nvPr userDrawn="1"/>
        </p:nvSpPr>
        <p:spPr>
          <a:xfrm>
            <a:off x="7291860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40EE3D-EEFC-874A-A65B-DDDE03FC3221}"/>
              </a:ext>
            </a:extLst>
          </p:cNvPr>
          <p:cNvSpPr/>
          <p:nvPr userDrawn="1"/>
        </p:nvSpPr>
        <p:spPr>
          <a:xfrm>
            <a:off x="8443327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67BF2-B8EF-D949-9F15-FC3B3099AD58}"/>
              </a:ext>
            </a:extLst>
          </p:cNvPr>
          <p:cNvSpPr/>
          <p:nvPr userDrawn="1"/>
        </p:nvSpPr>
        <p:spPr>
          <a:xfrm>
            <a:off x="9594794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7201170-3375-514F-99C2-E37C6903968A}"/>
              </a:ext>
            </a:extLst>
          </p:cNvPr>
          <p:cNvSpPr/>
          <p:nvPr userDrawn="1"/>
        </p:nvSpPr>
        <p:spPr>
          <a:xfrm>
            <a:off x="107462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E67BC68-4FB2-EE4A-A33E-6A7AF0CF413F}"/>
              </a:ext>
            </a:extLst>
          </p:cNvPr>
          <p:cNvSpPr/>
          <p:nvPr userDrawn="1"/>
        </p:nvSpPr>
        <p:spPr>
          <a:xfrm>
            <a:off x="4988926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77C142-7A53-7A4A-A8FB-FBF33048E364}"/>
              </a:ext>
            </a:extLst>
          </p:cNvPr>
          <p:cNvSpPr/>
          <p:nvPr userDrawn="1"/>
        </p:nvSpPr>
        <p:spPr>
          <a:xfrm>
            <a:off x="6140393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DC5831-BE66-5045-87AF-18EBDF02747B}"/>
              </a:ext>
            </a:extLst>
          </p:cNvPr>
          <p:cNvSpPr/>
          <p:nvPr userDrawn="1"/>
        </p:nvSpPr>
        <p:spPr>
          <a:xfrm>
            <a:off x="7291860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B65DE4-B016-474E-A1C1-495957C7CA04}"/>
              </a:ext>
            </a:extLst>
          </p:cNvPr>
          <p:cNvSpPr/>
          <p:nvPr userDrawn="1"/>
        </p:nvSpPr>
        <p:spPr>
          <a:xfrm>
            <a:off x="8443327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B3AA15-3E6B-C347-B0BE-F416C5684A23}"/>
              </a:ext>
            </a:extLst>
          </p:cNvPr>
          <p:cNvSpPr/>
          <p:nvPr userDrawn="1"/>
        </p:nvSpPr>
        <p:spPr>
          <a:xfrm>
            <a:off x="9594794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C0924D-A95B-1E43-84A3-825886C48DD3}"/>
              </a:ext>
            </a:extLst>
          </p:cNvPr>
          <p:cNvSpPr/>
          <p:nvPr userDrawn="1"/>
        </p:nvSpPr>
        <p:spPr>
          <a:xfrm>
            <a:off x="107462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</a:extLst>
          </p:cNvPr>
          <p:cNvSpPr/>
          <p:nvPr userDrawn="1"/>
        </p:nvSpPr>
        <p:spPr>
          <a:xfrm>
            <a:off x="3830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</a:extLst>
          </p:cNvPr>
          <p:cNvSpPr/>
          <p:nvPr userDrawn="1"/>
        </p:nvSpPr>
        <p:spPr>
          <a:xfrm>
            <a:off x="1534525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</a:extLst>
          </p:cNvPr>
          <p:cNvSpPr/>
          <p:nvPr userDrawn="1"/>
        </p:nvSpPr>
        <p:spPr>
          <a:xfrm>
            <a:off x="2685992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</a:extLst>
          </p:cNvPr>
          <p:cNvSpPr/>
          <p:nvPr userDrawn="1"/>
        </p:nvSpPr>
        <p:spPr>
          <a:xfrm>
            <a:off x="3837459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F522785-C8F3-734E-AF20-487FED2CEBCA}"/>
              </a:ext>
            </a:extLst>
          </p:cNvPr>
          <p:cNvSpPr/>
          <p:nvPr userDrawn="1"/>
        </p:nvSpPr>
        <p:spPr>
          <a:xfrm>
            <a:off x="4988926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8AD1D6-A541-1941-8B56-2FF0936767C6}"/>
              </a:ext>
            </a:extLst>
          </p:cNvPr>
          <p:cNvSpPr/>
          <p:nvPr userDrawn="1"/>
        </p:nvSpPr>
        <p:spPr>
          <a:xfrm>
            <a:off x="6140393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844F750-124C-F246-BCDD-67595B93DC88}"/>
              </a:ext>
            </a:extLst>
          </p:cNvPr>
          <p:cNvSpPr/>
          <p:nvPr userDrawn="1"/>
        </p:nvSpPr>
        <p:spPr>
          <a:xfrm>
            <a:off x="7291860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5499656-96AE-C649-B3C1-81D5C6F60DA6}"/>
              </a:ext>
            </a:extLst>
          </p:cNvPr>
          <p:cNvSpPr/>
          <p:nvPr userDrawn="1"/>
        </p:nvSpPr>
        <p:spPr>
          <a:xfrm>
            <a:off x="8443327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150134-3C23-2A41-8EC0-2D0F308CD2FE}"/>
              </a:ext>
            </a:extLst>
          </p:cNvPr>
          <p:cNvSpPr/>
          <p:nvPr userDrawn="1"/>
        </p:nvSpPr>
        <p:spPr>
          <a:xfrm>
            <a:off x="9594794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542EAC-EEE9-2748-9DAC-6986FFF6348A}"/>
              </a:ext>
            </a:extLst>
          </p:cNvPr>
          <p:cNvSpPr/>
          <p:nvPr userDrawn="1"/>
        </p:nvSpPr>
        <p:spPr>
          <a:xfrm>
            <a:off x="107462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1CDB1A-8B42-520A-323D-5D120AA42E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08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43F37B1-1F8A-2CA4-9D19-C0E420FB4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FAD1B1-54FF-2FC6-D407-337D3737411D}"/>
              </a:ext>
            </a:extLst>
          </p:cNvPr>
          <p:cNvSpPr txBox="1"/>
          <p:nvPr userDrawn="1"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Text content goes over single column. Text content here goes over single column. Text content here goes over single column.  </a:t>
            </a:r>
          </a:p>
        </p:txBody>
      </p:sp>
    </p:spTree>
    <p:extLst>
      <p:ext uri="{BB962C8B-B14F-4D97-AF65-F5344CB8AC3E}">
        <p14:creationId xmlns:p14="http://schemas.microsoft.com/office/powerpoint/2010/main" val="231656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A16B251-D1BB-394C-319F-40E8F04D7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A68404-D948-7642-8BC6-F42E883389E5}"/>
              </a:ext>
            </a:extLst>
          </p:cNvPr>
          <p:cNvSpPr txBox="1"/>
          <p:nvPr userDrawn="1"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Text content goes over single column. Text content here goes over single column. Text content here goes over single column.  </a:t>
            </a:r>
          </a:p>
        </p:txBody>
      </p:sp>
    </p:spTree>
    <p:extLst>
      <p:ext uri="{BB962C8B-B14F-4D97-AF65-F5344CB8AC3E}">
        <p14:creationId xmlns:p14="http://schemas.microsoft.com/office/powerpoint/2010/main" val="125021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2196E5-15CA-15E3-1E10-32B3D19927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52C93B3-5A12-5AAD-2ACF-93939EE7FB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7551A3-9BAE-400C-B485-0F4ED3DB7306}"/>
              </a:ext>
            </a:extLst>
          </p:cNvPr>
          <p:cNvSpPr txBox="1"/>
          <p:nvPr userDrawn="1"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/>
              <a:t>“Quote text here. Quote text here. Quote text here.”</a:t>
            </a:r>
          </a:p>
        </p:txBody>
      </p:sp>
    </p:spTree>
    <p:extLst>
      <p:ext uri="{BB962C8B-B14F-4D97-AF65-F5344CB8AC3E}">
        <p14:creationId xmlns:p14="http://schemas.microsoft.com/office/powerpoint/2010/main" val="87129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A7B0BA1-E61A-5019-0AA4-5328CA2AB0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B4F947-0C85-DAF2-683C-40847EF7F0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2D8FDB-A40F-9C14-5A8C-BCBBA006B64D}"/>
              </a:ext>
            </a:extLst>
          </p:cNvPr>
          <p:cNvSpPr txBox="1"/>
          <p:nvPr userDrawn="1"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/>
              <a:t>“Quote text here. Quote text here. Quote text here.”</a:t>
            </a:r>
          </a:p>
        </p:txBody>
      </p:sp>
    </p:spTree>
    <p:extLst>
      <p:ext uri="{BB962C8B-B14F-4D97-AF65-F5344CB8AC3E}">
        <p14:creationId xmlns:p14="http://schemas.microsoft.com/office/powerpoint/2010/main" val="332205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C30C3909-1482-1013-E118-A2CE0A1DD3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2932" y="3564000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2932" y="2520000"/>
            <a:ext cx="6948488" cy="9636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08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7092F3-915E-341D-8AD1-B8E398E9BFA4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Chart&#10;&#10;Description automatically generated with medium confidence">
            <a:extLst>
              <a:ext uri="{FF2B5EF4-FFF2-40B4-BE49-F238E27FC236}">
                <a16:creationId xmlns:a16="http://schemas.microsoft.com/office/drawing/2014/main" id="{0AF6C2AD-0E53-2A94-6EDF-C2BC1C35E6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16747" y="-121920"/>
            <a:ext cx="12408747" cy="697992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0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32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7C9A4BA-CD7C-BF8C-6221-BCB58BC96EC4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2D07C2D6-AB1B-B84B-BC13-7D79E8BCF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265" y="-122410"/>
            <a:ext cx="12499929" cy="703121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88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68FFC32-6059-0DED-CEB1-02D4D3CCB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598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598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20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slide with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C3761D-E146-5B7A-CD68-6CC98EA19A5F}"/>
              </a:ext>
            </a:extLst>
          </p:cNvPr>
          <p:cNvSpPr/>
          <p:nvPr userDrawn="1"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0355A0D-4235-0CF1-A976-C33D8CCCBF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B6F326D-0ECB-4952-2659-CD17291986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</p:spTree>
    <p:extLst>
      <p:ext uri="{BB962C8B-B14F-4D97-AF65-F5344CB8AC3E}">
        <p14:creationId xmlns:p14="http://schemas.microsoft.com/office/powerpoint/2010/main" val="4278180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ACCESSI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D383FB-0467-4241-BEF0-D636E886723B}"/>
              </a:ext>
            </a:extLst>
          </p:cNvPr>
          <p:cNvCxnSpPr/>
          <p:nvPr userDrawn="1"/>
        </p:nvCxnSpPr>
        <p:spPr>
          <a:xfrm>
            <a:off x="5715926" y="2605852"/>
            <a:ext cx="8651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90E57B-AF19-8642-9E47-AF887F52887B}"/>
              </a:ext>
            </a:extLst>
          </p:cNvPr>
          <p:cNvSpPr txBox="1"/>
          <p:nvPr userDrawn="1"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ank Y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	@nhseng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	company/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england.nhs.uk</a:t>
            </a:r>
            <a:endParaRPr lang="en-GB" sz="2400" b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B65D7-2EE6-F44F-85AA-7C9378792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843EE8-F6F8-9D40-92C1-94FB4DCF14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</p:spPr>
      </p:pic>
      <p:pic>
        <p:nvPicPr>
          <p:cNvPr id="72" name="Picture 96">
            <a:extLst>
              <a:ext uri="{FF2B5EF4-FFF2-40B4-BE49-F238E27FC236}">
                <a16:creationId xmlns:a16="http://schemas.microsoft.com/office/drawing/2014/main" id="{664BA24D-FA8C-EE4D-A2DC-491BF11D6F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77C56A3-4FFE-73CF-6F7F-1F451E5B3F1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6D92FD5-08EA-6BC8-29BC-BCF5EEFE18A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-2509143" y="-71523"/>
            <a:ext cx="10768951" cy="7616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68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mple-Icons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DF01C83-A866-28AC-7B1F-38947CCF6D80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</a:extLst>
          </p:cNvPr>
          <p:cNvSpPr/>
          <p:nvPr userDrawn="1"/>
        </p:nvSpPr>
        <p:spPr>
          <a:xfrm>
            <a:off x="383058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</a:extLst>
          </p:cNvPr>
          <p:cNvSpPr/>
          <p:nvPr userDrawn="1"/>
        </p:nvSpPr>
        <p:spPr>
          <a:xfrm>
            <a:off x="1534525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</a:extLst>
          </p:cNvPr>
          <p:cNvSpPr/>
          <p:nvPr userDrawn="1"/>
        </p:nvSpPr>
        <p:spPr>
          <a:xfrm>
            <a:off x="2685992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</a:extLst>
          </p:cNvPr>
          <p:cNvSpPr/>
          <p:nvPr userDrawn="1"/>
        </p:nvSpPr>
        <p:spPr>
          <a:xfrm>
            <a:off x="3837459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10BDAA4-2C6C-4E47-9616-5977DD23D840}"/>
              </a:ext>
            </a:extLst>
          </p:cNvPr>
          <p:cNvSpPr/>
          <p:nvPr userDrawn="1"/>
        </p:nvSpPr>
        <p:spPr>
          <a:xfrm>
            <a:off x="5122911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691AF0D-B60D-2949-AB30-089AD6A4A5A1}"/>
              </a:ext>
            </a:extLst>
          </p:cNvPr>
          <p:cNvSpPr/>
          <p:nvPr userDrawn="1"/>
        </p:nvSpPr>
        <p:spPr>
          <a:xfrm>
            <a:off x="7474153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76B0456-3FC3-5D44-A9F1-56A57FD0B992}"/>
              </a:ext>
            </a:extLst>
          </p:cNvPr>
          <p:cNvSpPr/>
          <p:nvPr userDrawn="1"/>
        </p:nvSpPr>
        <p:spPr>
          <a:xfrm>
            <a:off x="9825395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69F651-3737-5832-DC5A-9DB8A57B6C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1CA835D-248C-29AB-B7DE-5AD7C7D2A8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2104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3763076-72CB-117E-F240-98C1D1050D3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7E920E-FCD4-834F-9787-A19C03BDF9A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055424E-84DC-71BA-CBB2-BE0007D93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64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3763076-72CB-117E-F240-98C1D1050D3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310075"/>
            <a:ext cx="11404154" cy="42672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7E920E-FCD4-834F-9787-A19C03BDF9A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055424E-84DC-71BA-CBB2-BE0007D93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B2922A9-9C8F-43B1-7D0A-0C7761EE45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7672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14173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B9EEEB-4482-151C-3E4B-6DCA5DB975F7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B5EE73-D618-9F44-829B-3E2FB3EF9E8B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5BBF07FF-3CE1-3D71-B166-EE893EF0AE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32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4A03389-AFFC-D562-CFEA-903FB9952FA7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4D7BC1-63C2-8C4A-9DF2-1AD2DA1C73BA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84297CC-11A8-6F97-008D-CE9C34365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2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and image with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1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and image with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BDFC27-AE77-990E-E3A7-5DF7B8BEB8B0}"/>
              </a:ext>
            </a:extLst>
          </p:cNvPr>
          <p:cNvSpPr txBox="1"/>
          <p:nvPr userDrawn="1"/>
        </p:nvSpPr>
        <p:spPr>
          <a:xfrm>
            <a:off x="7202551" y="2249424"/>
            <a:ext cx="44281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Text content goes over single column. Text content here goes over single column. Text content here goes over single column.  </a:t>
            </a:r>
          </a:p>
        </p:txBody>
      </p:sp>
    </p:spTree>
    <p:extLst>
      <p:ext uri="{BB962C8B-B14F-4D97-AF65-F5344CB8AC3E}">
        <p14:creationId xmlns:p14="http://schemas.microsoft.com/office/powerpoint/2010/main" val="255952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image with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11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1_Quote large Centred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41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41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41"/>
          <p:cNvSpPr txBox="1">
            <a:spLocks noGrp="1"/>
          </p:cNvSpPr>
          <p:nvPr>
            <p:ph type="body" idx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1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200"/>
              <a:buNone/>
              <a:defRPr sz="22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" name="Google Shape;161;p41"/>
          <p:cNvCxnSpPr/>
          <p:nvPr/>
        </p:nvCxnSpPr>
        <p:spPr>
          <a:xfrm>
            <a:off x="432000" y="6336000"/>
            <a:ext cx="11384862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62" name="Google Shape;162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692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1_Heading, subhead, bullets one column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6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26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26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2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2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2" name="Google Shape;32;p2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3" name="Google Shape;33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336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3_Title, subhead, two columns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2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p32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32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32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39;p32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40;p3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41" name="Google Shape;41;p32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2" name="Google Shape;42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223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head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A60DD58-05DE-E835-E697-CB9A9B0B94E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</p:spPr>
        <p:txBody>
          <a:bodyPr lIns="0" tIns="0" rIns="0" bIns="0" numCol="2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BB79D01-2A70-DAF1-6A65-BC0424C2FE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964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bg>
      <p:bgPr>
        <a:solidFill>
          <a:srgbClr val="F6F8F8"/>
        </a:solid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3"/>
          <p:cNvSpPr txBox="1">
            <a:spLocks noGrp="1"/>
          </p:cNvSpPr>
          <p:nvPr>
            <p:ph type="title"/>
          </p:nvPr>
        </p:nvSpPr>
        <p:spPr>
          <a:xfrm>
            <a:off x="420192" y="559859"/>
            <a:ext cx="10176000" cy="7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40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3" name="Google Shape;23;p1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p1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2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5" name="Google Shape;25;p13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6" name="Google Shape;26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663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ing, subhead, bullets one column">
  <p:cSld name="Heading, subhead, bullets one column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Google Shape;543;p13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4" name="Google Shape;544;p13"/>
          <p:cNvSpPr txBox="1">
            <a:spLocks noGrp="1"/>
          </p:cNvSpPr>
          <p:nvPr>
            <p:ph type="body"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p13"/>
          <p:cNvSpPr txBox="1">
            <a:spLocks noGrp="1"/>
          </p:cNvSpPr>
          <p:nvPr>
            <p:ph type="body" idx="2"/>
          </p:nvPr>
        </p:nvSpPr>
        <p:spPr>
          <a:xfrm>
            <a:off x="432001" y="2088000"/>
            <a:ext cx="11012800" cy="5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1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7" name="Google Shape;547;p1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8" name="Google Shape;548;p1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549" name="Google Shape;549;p1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50" name="Google Shape;550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title slide">
  <p:cSld name="Front title slide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62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3" name="Google Shape;553;p62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30720" y="-508517"/>
            <a:ext cx="11319583" cy="8005665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62"/>
          <p:cNvSpPr txBox="1">
            <a:spLocks noGrp="1"/>
          </p:cNvSpPr>
          <p:nvPr>
            <p:ph type="ctrTitle"/>
          </p:nvPr>
        </p:nvSpPr>
        <p:spPr>
          <a:xfrm>
            <a:off x="432000" y="1002268"/>
            <a:ext cx="4644000" cy="25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5467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p62"/>
          <p:cNvSpPr txBox="1">
            <a:spLocks noGrp="1"/>
          </p:cNvSpPr>
          <p:nvPr>
            <p:ph type="subTitle" idx="1"/>
          </p:nvPr>
        </p:nvSpPr>
        <p:spPr>
          <a:xfrm>
            <a:off x="432000" y="3600000"/>
            <a:ext cx="7973200" cy="102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2100"/>
              <a:buNone/>
              <a:defRPr sz="2800">
                <a:solidFill>
                  <a:schemeClr val="accent6"/>
                </a:solidFill>
              </a:defRPr>
            </a:lvl1pPr>
            <a:lvl2pPr lvl="1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 sz="1867"/>
            </a:lvl3pPr>
            <a:lvl4pPr lvl="3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556" name="Google Shape;556;p6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3002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57" name="Google Shape;557;p62"/>
          <p:cNvSpPr txBox="1"/>
          <p:nvPr/>
        </p:nvSpPr>
        <p:spPr>
          <a:xfrm>
            <a:off x="3225115" y="601774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8" name="Google Shape;558;p62"/>
          <p:cNvSpPr txBox="1">
            <a:spLocks noGrp="1"/>
          </p:cNvSpPr>
          <p:nvPr>
            <p:ph type="body" idx="2"/>
          </p:nvPr>
        </p:nvSpPr>
        <p:spPr>
          <a:xfrm>
            <a:off x="432000" y="5760000"/>
            <a:ext cx="6259600" cy="4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 sz="24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500"/>
              <a:buNone/>
              <a:defRPr>
                <a:solidFill>
                  <a:schemeClr val="accen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400"/>
              <a:buNone/>
              <a:defRPr>
                <a:solidFill>
                  <a:schemeClr val="accent2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59" name="Google Shape;559;p62"/>
          <p:cNvSpPr txBox="1"/>
          <p:nvPr/>
        </p:nvSpPr>
        <p:spPr>
          <a:xfrm>
            <a:off x="9233452" y="5486400"/>
            <a:ext cx="184800" cy="37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0" name="Google Shape;560;p62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51045" y="364426"/>
            <a:ext cx="1208955" cy="9797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eading, content, basic text one col">
  <p:cSld name="Heading, content, basic text one col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Google Shape;562;p63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3" name="Google Shape;563;p63"/>
          <p:cNvSpPr txBox="1">
            <a:spLocks noGrp="1"/>
          </p:cNvSpPr>
          <p:nvPr>
            <p:ph type="title"/>
          </p:nvPr>
        </p:nvSpPr>
        <p:spPr>
          <a:xfrm>
            <a:off x="347413" y="3166643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63"/>
          <p:cNvSpPr txBox="1">
            <a:spLocks noGrp="1"/>
          </p:cNvSpPr>
          <p:nvPr>
            <p:ph type="body" idx="1"/>
          </p:nvPr>
        </p:nvSpPr>
        <p:spPr>
          <a:xfrm>
            <a:off x="412708" y="2106000"/>
            <a:ext cx="7632000" cy="4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2pPr>
            <a:lvl3pPr marL="1371600" lvl="2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65" name="Google Shape;565;p6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6" name="Google Shape;566;p6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67" name="Google Shape;567;p6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reaker Heading1-Blue-DarkBlueA">
  <p:cSld name="5_Breaker Heading1-Blue-DarkBlueA"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9" name="Google Shape;569;p64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570" name="Google Shape;570;p64"/>
          <p:cNvSpPr txBox="1">
            <a:spLocks noGrp="1"/>
          </p:cNvSpPr>
          <p:nvPr>
            <p:ph type="body" idx="1"/>
          </p:nvPr>
        </p:nvSpPr>
        <p:spPr>
          <a:xfrm>
            <a:off x="882932" y="3564000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71" name="Google Shape;571;p64"/>
          <p:cNvSpPr txBox="1">
            <a:spLocks noGrp="1"/>
          </p:cNvSpPr>
          <p:nvPr>
            <p:ph type="body" idx="2"/>
          </p:nvPr>
        </p:nvSpPr>
        <p:spPr>
          <a:xfrm>
            <a:off x="882932" y="2520000"/>
            <a:ext cx="6948400" cy="9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72" name="Google Shape;572;p6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reaker Heading1-Blue-DarkBlueA">
  <p:cSld name="6_Breaker Heading1-Blue-DarkBlueA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p65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5" name="Google Shape;575;p65" descr="Chart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16747" y="-121919"/>
            <a:ext cx="12408747" cy="6979921"/>
          </a:xfrm>
          <a:prstGeom prst="rect">
            <a:avLst/>
          </a:prstGeom>
          <a:noFill/>
          <a:ln>
            <a:noFill/>
          </a:ln>
        </p:spPr>
      </p:pic>
      <p:sp>
        <p:nvSpPr>
          <p:cNvPr id="576" name="Google Shape;576;p65"/>
          <p:cNvSpPr txBox="1">
            <a:spLocks noGrp="1"/>
          </p:cNvSpPr>
          <p:nvPr>
            <p:ph type="body" idx="1"/>
          </p:nvPr>
        </p:nvSpPr>
        <p:spPr>
          <a:xfrm>
            <a:off x="612000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77" name="Google Shape;577;p65"/>
          <p:cNvSpPr txBox="1">
            <a:spLocks noGrp="1"/>
          </p:cNvSpPr>
          <p:nvPr>
            <p:ph type="body" idx="2"/>
          </p:nvPr>
        </p:nvSpPr>
        <p:spPr>
          <a:xfrm>
            <a:off x="612000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78" name="Google Shape;578;p6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slide with image A">
  <p:cSld name="1_Headline slide with image A"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p6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581" name="Google Shape;581;p66"/>
          <p:cNvSpPr/>
          <p:nvPr/>
        </p:nvSpPr>
        <p:spPr>
          <a:xfrm>
            <a:off x="0" y="0"/>
            <a:ext cx="60960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2" name="Google Shape;582;p66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3" name="Google Shape;583;p6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4" name="Google Shape;584;p66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85" name="Google Shape;585;p66"/>
          <p:cNvSpPr txBox="1">
            <a:spLocks noGrp="1"/>
          </p:cNvSpPr>
          <p:nvPr>
            <p:ph type="body" idx="3"/>
          </p:nvPr>
        </p:nvSpPr>
        <p:spPr>
          <a:xfrm>
            <a:off x="891916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reaker Heading1-Blue-DarkBlueA">
  <p:cSld name="8_Breaker Heading1-Blue-DarkBlueA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67"/>
          <p:cNvSpPr/>
          <p:nvPr/>
        </p:nvSpPr>
        <p:spPr>
          <a:xfrm>
            <a:off x="-14636" y="-34893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67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2265" y="-122411"/>
            <a:ext cx="12499929" cy="7031208"/>
          </a:xfrm>
          <a:prstGeom prst="rect">
            <a:avLst/>
          </a:prstGeom>
          <a:noFill/>
          <a:ln>
            <a:noFill/>
          </a:ln>
        </p:spPr>
      </p:pic>
      <p:sp>
        <p:nvSpPr>
          <p:cNvPr id="589" name="Google Shape;589;p67"/>
          <p:cNvSpPr txBox="1">
            <a:spLocks noGrp="1"/>
          </p:cNvSpPr>
          <p:nvPr>
            <p:ph type="body" idx="1"/>
          </p:nvPr>
        </p:nvSpPr>
        <p:spPr>
          <a:xfrm>
            <a:off x="891916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90" name="Google Shape;590;p67"/>
          <p:cNvSpPr txBox="1">
            <a:spLocks noGrp="1"/>
          </p:cNvSpPr>
          <p:nvPr>
            <p:ph type="body" idx="2"/>
          </p:nvPr>
        </p:nvSpPr>
        <p:spPr>
          <a:xfrm>
            <a:off x="891916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91" name="Google Shape;591;p6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1_Title, subhead, two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p68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4" name="Google Shape;594;p68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68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96" name="Google Shape;596;p6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7" name="Google Shape;597;p6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8" name="Google Shape;598;p6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599" name="Google Shape;599;p68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00" name="Google Shape;600;p6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hree columns">
  <p:cSld name="2_Title, subhead, Three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Google Shape;602;p69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3" name="Google Shape;603;p69"/>
          <p:cNvSpPr txBox="1">
            <a:spLocks noGrp="1"/>
          </p:cNvSpPr>
          <p:nvPr>
            <p:ph type="body"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69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05" name="Google Shape;605;p6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6" name="Google Shape;606;p6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7" name="Google Shape;607;p6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608" name="Google Shape;608;p69"/>
          <p:cNvCxnSpPr/>
          <p:nvPr/>
        </p:nvCxnSpPr>
        <p:spPr>
          <a:xfrm>
            <a:off x="432000" y="63487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09" name="Google Shape;609;p6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, subhead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A60DD58-05DE-E835-E697-CB9A9B0B94E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</p:spPr>
        <p:txBody>
          <a:bodyPr lIns="0" tIns="0" rIns="0" bIns="0" numCol="2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29FE9CC-24C2-9AAC-6340-A9E7BC3249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1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slide with image A">
  <p:cSld name="Headline slide with image A">
    <p:spTree>
      <p:nvGrpSpPr>
        <p:cNvPr id="1" name="Shape 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Google Shape;611;p70"/>
          <p:cNvSpPr/>
          <p:nvPr/>
        </p:nvSpPr>
        <p:spPr>
          <a:xfrm>
            <a:off x="0" y="0"/>
            <a:ext cx="60960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2" name="Google Shape;612;p70"/>
          <p:cNvSpPr txBox="1">
            <a:spLocks noGrp="1"/>
          </p:cNvSpPr>
          <p:nvPr>
            <p:ph type="title"/>
          </p:nvPr>
        </p:nvSpPr>
        <p:spPr>
          <a:xfrm>
            <a:off x="354093" y="1647568"/>
            <a:ext cx="4909600" cy="31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13" name="Google Shape;613;p7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4" name="Google Shape;614;p7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5" name="Google Shape;615;p70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large Centred">
  <p:cSld name="Quote large Centred"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7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8" name="Google Shape;618;p7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9" name="Google Shape;619;p71"/>
          <p:cNvSpPr txBox="1">
            <a:spLocks noGrp="1"/>
          </p:cNvSpPr>
          <p:nvPr>
            <p:ph type="body" idx="1"/>
          </p:nvPr>
        </p:nvSpPr>
        <p:spPr>
          <a:xfrm>
            <a:off x="1214367" y="1180299"/>
            <a:ext cx="9811200" cy="2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20" name="Google Shape;620;p71"/>
          <p:cNvSpPr txBox="1">
            <a:spLocks noGrp="1"/>
          </p:cNvSpPr>
          <p:nvPr>
            <p:ph type="body" idx="2"/>
          </p:nvPr>
        </p:nvSpPr>
        <p:spPr>
          <a:xfrm>
            <a:off x="4150923" y="5096236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621" name="Google Shape;621;p71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22" name="Google Shape;622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with Intro">
  <p:cSld name="Icon Grid Boxes 2UP with Intro">
    <p:spTree>
      <p:nvGrpSpPr>
        <p:cNvPr id="1" name="Shape 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" name="Google Shape;624;p72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5" name="Google Shape;625;p7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6" name="Google Shape;626;p7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7" name="Google Shape;627;p72"/>
          <p:cNvSpPr txBox="1">
            <a:spLocks noGrp="1"/>
          </p:cNvSpPr>
          <p:nvPr>
            <p:ph type="body" idx="1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28" name="Google Shape;628;p72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9" name="Google Shape;629;p72"/>
          <p:cNvSpPr txBox="1">
            <a:spLocks noGrp="1"/>
          </p:cNvSpPr>
          <p:nvPr>
            <p:ph type="body" idx="2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30" name="Google Shape;630;p72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1" name="Google Shape;631;p72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2" name="Google Shape;632;p72"/>
          <p:cNvSpPr txBox="1">
            <a:spLocks noGrp="1"/>
          </p:cNvSpPr>
          <p:nvPr>
            <p:ph type="body" idx="3"/>
          </p:nvPr>
        </p:nvSpPr>
        <p:spPr>
          <a:xfrm>
            <a:off x="432000" y="1735015"/>
            <a:ext cx="3564000" cy="43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7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634" name="Google Shape;634;p7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35" name="Google Shape;635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3UP">
  <p:cSld name="Icon Grid Boxes 3UP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p73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38" name="Google Shape;638;p7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9" name="Google Shape;639;p7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0" name="Google Shape;640;p73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1" name="Google Shape;641;p73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42" name="Google Shape;642;p73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3" name="Google Shape;643;p73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44" name="Google Shape;644;p73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5" name="Google Shape;645;p73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6" name="Google Shape;646;p7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647" name="Google Shape;647;p7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48" name="Google Shape;648;p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Grey">
  <p:cSld name="ICON Grid Boxes 4UP Grey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p74"/>
          <p:cNvSpPr txBox="1">
            <a:spLocks noGrp="1"/>
          </p:cNvSpPr>
          <p:nvPr>
            <p:ph type="body" idx="1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74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2" name="Google Shape;652;p7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3" name="Google Shape;653;p74"/>
          <p:cNvSpPr/>
          <p:nvPr/>
        </p:nvSpPr>
        <p:spPr>
          <a:xfrm>
            <a:off x="227772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4" name="Google Shape;654;p74"/>
          <p:cNvSpPr txBox="1">
            <a:spLocks noGrp="1"/>
          </p:cNvSpPr>
          <p:nvPr>
            <p:ph type="body" idx="2"/>
          </p:nvPr>
        </p:nvSpPr>
        <p:spPr>
          <a:xfrm>
            <a:off x="6231884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55" name="Google Shape;655;p74"/>
          <p:cNvSpPr/>
          <p:nvPr/>
        </p:nvSpPr>
        <p:spPr>
          <a:xfrm>
            <a:off x="6231884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6" name="Google Shape;656;p74"/>
          <p:cNvSpPr txBox="1">
            <a:spLocks noGrp="1"/>
          </p:cNvSpPr>
          <p:nvPr>
            <p:ph type="body" idx="3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57" name="Google Shape;657;p74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8" name="Google Shape;658;p74"/>
          <p:cNvSpPr/>
          <p:nvPr/>
        </p:nvSpPr>
        <p:spPr>
          <a:xfrm>
            <a:off x="2277721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9" name="Google Shape;659;p74"/>
          <p:cNvSpPr txBox="1">
            <a:spLocks noGrp="1"/>
          </p:cNvSpPr>
          <p:nvPr>
            <p:ph type="body" idx="4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60" name="Google Shape;660;p74"/>
          <p:cNvSpPr/>
          <p:nvPr/>
        </p:nvSpPr>
        <p:spPr>
          <a:xfrm>
            <a:off x="6239447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1" name="Google Shape;661;p7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662" name="Google Shape;662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3" name="Google Shape;663;p74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4UP with Intro">
  <p:cSld name="ICON Grid Boxes 4UP with Intro">
    <p:spTree>
      <p:nvGrpSpPr>
        <p:cNvPr id="1" name="Shape 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" name="Google Shape;665;p7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6" name="Google Shape;666;p7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75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8" name="Google Shape;668;p75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69" name="Google Shape;669;p75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0" name="Google Shape;670;p75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71" name="Google Shape;671;p75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2" name="Google Shape;672;p75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73" name="Google Shape;673;p75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4" name="Google Shape;674;p75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75" name="Google Shape;675;p75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7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677" name="Google Shape;677;p7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" name="Google Shape;678;p75"/>
          <p:cNvSpPr txBox="1">
            <a:spLocks noGrp="1"/>
          </p:cNvSpPr>
          <p:nvPr>
            <p:ph type="body" idx="5"/>
          </p:nvPr>
        </p:nvSpPr>
        <p:spPr>
          <a:xfrm>
            <a:off x="432000" y="1285015"/>
            <a:ext cx="3564000" cy="4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pic>
        <p:nvPicPr>
          <p:cNvPr id="679" name="Google Shape;679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5UP">
  <p:cSld name="ICON Grid boxes 5UP">
    <p:spTree>
      <p:nvGrpSpPr>
        <p:cNvPr id="1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Google Shape;681;p76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2" name="Google Shape;682;p7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3" name="Google Shape;683;p76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4" name="Google Shape;684;p76"/>
          <p:cNvSpPr/>
          <p:nvPr/>
        </p:nvSpPr>
        <p:spPr>
          <a:xfrm>
            <a:off x="2370979" y="1089953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5" name="Google Shape;685;p76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6" name="Google Shape;686;p76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7" name="Google Shape;687;p76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8" name="Google Shape;688;p76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9" name="Google Shape;689;p76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0" name="Google Shape;690;p76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91" name="Google Shape;691;p76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2" name="Google Shape;692;p76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76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4" name="Google Shape;694;p7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695" name="Google Shape;695;p7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96" name="Google Shape;696;p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6UP Grey">
  <p:cSld name="ICON Grid Boxes 6UP Grey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77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99" name="Google Shape;699;p7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0" name="Google Shape;700;p7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1" name="Google Shape;701;p77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2" name="Google Shape;702;p77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03" name="Google Shape;703;p77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p77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77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6" name="Google Shape;706;p77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77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8" name="Google Shape;708;p77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9" name="Google Shape;709;p77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10" name="Google Shape;710;p77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1" name="Google Shape;711;p77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12" name="Google Shape;712;p77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3" name="Google Shape;713;p7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714" name="Google Shape;714;p7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15" name="Google Shape;715;p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2UP +Intro ">
  <p:cSld name="TEXT Grid Boxes, Titles 2UP +Intro 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" name="Google Shape;717;p78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8" name="Google Shape;718;p7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9" name="Google Shape;719;p7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0" name="Google Shape;720;p78"/>
          <p:cNvSpPr txBox="1">
            <a:spLocks noGrp="1"/>
          </p:cNvSpPr>
          <p:nvPr>
            <p:ph type="body" idx="1"/>
          </p:nvPr>
        </p:nvSpPr>
        <p:spPr>
          <a:xfrm>
            <a:off x="4366871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8"/>
          <p:cNvSpPr/>
          <p:nvPr/>
        </p:nvSpPr>
        <p:spPr>
          <a:xfrm>
            <a:off x="4366871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2" name="Google Shape;722;p78"/>
          <p:cNvSpPr txBox="1">
            <a:spLocks noGrp="1"/>
          </p:cNvSpPr>
          <p:nvPr>
            <p:ph type="body" idx="2"/>
          </p:nvPr>
        </p:nvSpPr>
        <p:spPr>
          <a:xfrm>
            <a:off x="8259249" y="2290349"/>
            <a:ext cx="3564000" cy="3764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23" name="Google Shape;723;p78"/>
          <p:cNvSpPr/>
          <p:nvPr/>
        </p:nvSpPr>
        <p:spPr>
          <a:xfrm>
            <a:off x="8259249" y="1282349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4" name="Google Shape;724;p78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5" name="Google Shape;725;p78"/>
          <p:cNvSpPr txBox="1">
            <a:spLocks noGrp="1"/>
          </p:cNvSpPr>
          <p:nvPr>
            <p:ph type="body" idx="3"/>
          </p:nvPr>
        </p:nvSpPr>
        <p:spPr>
          <a:xfrm>
            <a:off x="432000" y="1285015"/>
            <a:ext cx="3564000" cy="4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78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7" name="Google Shape;727;p78"/>
          <p:cNvSpPr txBox="1">
            <a:spLocks noGrp="1"/>
          </p:cNvSpPr>
          <p:nvPr>
            <p:ph type="body" idx="4"/>
          </p:nvPr>
        </p:nvSpPr>
        <p:spPr>
          <a:xfrm>
            <a:off x="4474871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28" name="Google Shape;728;p78"/>
          <p:cNvSpPr txBox="1">
            <a:spLocks noGrp="1"/>
          </p:cNvSpPr>
          <p:nvPr>
            <p:ph type="body" idx="5"/>
          </p:nvPr>
        </p:nvSpPr>
        <p:spPr>
          <a:xfrm>
            <a:off x="8367249" y="142623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729" name="Google Shape;729;p7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30" name="Google Shape;730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3UP">
  <p:cSld name="TEXT Grid boxes, Titles 3UP">
    <p:spTree>
      <p:nvGrpSpPr>
        <p:cNvPr id="1" name="Shape 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Google Shape;732;p79"/>
          <p:cNvSpPr txBox="1">
            <a:spLocks noGrp="1"/>
          </p:cNvSpPr>
          <p:nvPr>
            <p:ph type="body" idx="1"/>
          </p:nvPr>
        </p:nvSpPr>
        <p:spPr>
          <a:xfrm>
            <a:off x="412708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33" name="Google Shape;733;p7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4" name="Google Shape;734;p7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5" name="Google Shape;735;p79"/>
          <p:cNvSpPr/>
          <p:nvPr/>
        </p:nvSpPr>
        <p:spPr>
          <a:xfrm>
            <a:off x="412708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6" name="Google Shape;736;p79"/>
          <p:cNvSpPr txBox="1">
            <a:spLocks noGrp="1"/>
          </p:cNvSpPr>
          <p:nvPr>
            <p:ph type="body" idx="2"/>
          </p:nvPr>
        </p:nvSpPr>
        <p:spPr>
          <a:xfrm>
            <a:off x="4366871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37" name="Google Shape;737;p79"/>
          <p:cNvSpPr/>
          <p:nvPr/>
        </p:nvSpPr>
        <p:spPr>
          <a:xfrm>
            <a:off x="4366871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8" name="Google Shape;738;p79"/>
          <p:cNvSpPr txBox="1">
            <a:spLocks noGrp="1"/>
          </p:cNvSpPr>
          <p:nvPr>
            <p:ph type="body" idx="3"/>
          </p:nvPr>
        </p:nvSpPr>
        <p:spPr>
          <a:xfrm>
            <a:off x="8259249" y="274301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39" name="Google Shape;739;p79"/>
          <p:cNvSpPr/>
          <p:nvPr/>
        </p:nvSpPr>
        <p:spPr>
          <a:xfrm>
            <a:off x="8259249" y="1735015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0" name="Google Shape;740;p79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1" name="Google Shape;741;p7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42" name="Google Shape;742;p79"/>
          <p:cNvSpPr txBox="1">
            <a:spLocks noGrp="1"/>
          </p:cNvSpPr>
          <p:nvPr>
            <p:ph type="body" idx="4"/>
          </p:nvPr>
        </p:nvSpPr>
        <p:spPr>
          <a:xfrm>
            <a:off x="520708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43" name="Google Shape;743;p79"/>
          <p:cNvSpPr txBox="1">
            <a:spLocks noGrp="1"/>
          </p:cNvSpPr>
          <p:nvPr>
            <p:ph type="body" idx="5"/>
          </p:nvPr>
        </p:nvSpPr>
        <p:spPr>
          <a:xfrm>
            <a:off x="4474871" y="1897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44" name="Google Shape;744;p79"/>
          <p:cNvSpPr txBox="1">
            <a:spLocks noGrp="1"/>
          </p:cNvSpPr>
          <p:nvPr>
            <p:ph type="body" idx="6"/>
          </p:nvPr>
        </p:nvSpPr>
        <p:spPr>
          <a:xfrm>
            <a:off x="8367249" y="1891996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745" name="Google Shape;745;p7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46" name="Google Shape;746;p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, subhead,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5C4A9B1-8C9A-5B25-6E7A-B9589ECCAD8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</p:spPr>
        <p:txBody>
          <a:bodyPr lIns="0" tIns="0" rIns="0" bIns="0" numCol="3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9D545D-FD2F-4843-8588-07EBE7DDAA13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487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07F89CB-5AF7-9C7B-6503-F287E127E8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67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4UP +Intro">
  <p:cSld name="TEXT Grid boxes, Titles 4UP +Intro"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Google Shape;748;p80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9" name="Google Shape;749;p8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0" name="Google Shape;750;p8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1" name="Google Shape;751;p80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2" name="Google Shape;752;p80"/>
          <p:cNvSpPr txBox="1">
            <a:spLocks noGrp="1"/>
          </p:cNvSpPr>
          <p:nvPr>
            <p:ph type="body" idx="1"/>
          </p:nvPr>
        </p:nvSpPr>
        <p:spPr>
          <a:xfrm>
            <a:off x="4310428" y="218501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53" name="Google Shape;753;p80"/>
          <p:cNvSpPr/>
          <p:nvPr/>
        </p:nvSpPr>
        <p:spPr>
          <a:xfrm>
            <a:off x="4310428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4" name="Google Shape;754;p80"/>
          <p:cNvSpPr txBox="1">
            <a:spLocks noGrp="1"/>
          </p:cNvSpPr>
          <p:nvPr>
            <p:ph type="body" idx="2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55" name="Google Shape;755;p80"/>
          <p:cNvSpPr/>
          <p:nvPr/>
        </p:nvSpPr>
        <p:spPr>
          <a:xfrm>
            <a:off x="8264591" y="12850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6" name="Google Shape;756;p80"/>
          <p:cNvSpPr txBox="1">
            <a:spLocks noGrp="1"/>
          </p:cNvSpPr>
          <p:nvPr>
            <p:ph type="body" idx="3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57" name="Google Shape;757;p80"/>
          <p:cNvSpPr/>
          <p:nvPr/>
        </p:nvSpPr>
        <p:spPr>
          <a:xfrm>
            <a:off x="4310428" y="384628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8" name="Google Shape;758;p80"/>
          <p:cNvSpPr txBox="1">
            <a:spLocks noGrp="1"/>
          </p:cNvSpPr>
          <p:nvPr>
            <p:ph type="body" idx="4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80"/>
          <p:cNvSpPr/>
          <p:nvPr/>
        </p:nvSpPr>
        <p:spPr>
          <a:xfrm>
            <a:off x="8272155" y="3849215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0" name="Google Shape;760;p80"/>
          <p:cNvSpPr txBox="1">
            <a:spLocks noGrp="1"/>
          </p:cNvSpPr>
          <p:nvPr>
            <p:ph type="body" idx="5"/>
          </p:nvPr>
        </p:nvSpPr>
        <p:spPr>
          <a:xfrm>
            <a:off x="432000" y="1393015"/>
            <a:ext cx="3564000" cy="4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/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61" name="Google Shape;761;p8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2" name="Google Shape;762;p80"/>
          <p:cNvSpPr txBox="1">
            <a:spLocks noGrp="1"/>
          </p:cNvSpPr>
          <p:nvPr>
            <p:ph type="body" idx="6"/>
          </p:nvPr>
        </p:nvSpPr>
        <p:spPr>
          <a:xfrm>
            <a:off x="4418428" y="1393015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80"/>
          <p:cNvSpPr txBox="1">
            <a:spLocks noGrp="1"/>
          </p:cNvSpPr>
          <p:nvPr>
            <p:ph type="body" idx="7"/>
          </p:nvPr>
        </p:nvSpPr>
        <p:spPr>
          <a:xfrm>
            <a:off x="8372591" y="1394399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64" name="Google Shape;764;p80"/>
          <p:cNvSpPr txBox="1">
            <a:spLocks noGrp="1"/>
          </p:cNvSpPr>
          <p:nvPr>
            <p:ph type="body" idx="8"/>
          </p:nvPr>
        </p:nvSpPr>
        <p:spPr>
          <a:xfrm>
            <a:off x="4418428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65" name="Google Shape;765;p80"/>
          <p:cNvSpPr txBox="1">
            <a:spLocks noGrp="1"/>
          </p:cNvSpPr>
          <p:nvPr>
            <p:ph type="body" idx="9"/>
          </p:nvPr>
        </p:nvSpPr>
        <p:spPr>
          <a:xfrm>
            <a:off x="8380155" y="395428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766" name="Google Shape;766;p8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67" name="Google Shape;767;p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5UP">
  <p:cSld name="TEXT Grid boxes, Titles 5UP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" name="Google Shape;769;p8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8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81"/>
          <p:cNvSpPr txBox="1">
            <a:spLocks noGrp="1"/>
          </p:cNvSpPr>
          <p:nvPr>
            <p:ph type="body" idx="1"/>
          </p:nvPr>
        </p:nvSpPr>
        <p:spPr>
          <a:xfrm>
            <a:off x="2370979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2" name="Google Shape;772;p81"/>
          <p:cNvSpPr/>
          <p:nvPr/>
        </p:nvSpPr>
        <p:spPr>
          <a:xfrm>
            <a:off x="2370979" y="1113399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81"/>
          <p:cNvSpPr txBox="1">
            <a:spLocks noGrp="1"/>
          </p:cNvSpPr>
          <p:nvPr>
            <p:ph type="body" idx="2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4" name="Google Shape;774;p81"/>
          <p:cNvSpPr/>
          <p:nvPr/>
        </p:nvSpPr>
        <p:spPr>
          <a:xfrm>
            <a:off x="6257024" y="1090988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81"/>
          <p:cNvSpPr txBox="1">
            <a:spLocks noGrp="1"/>
          </p:cNvSpPr>
          <p:nvPr>
            <p:ph type="body" idx="3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81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81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81"/>
          <p:cNvSpPr txBox="1">
            <a:spLocks noGrp="1"/>
          </p:cNvSpPr>
          <p:nvPr>
            <p:ph type="body" idx="4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9" name="Google Shape;779;p81"/>
          <p:cNvSpPr/>
          <p:nvPr/>
        </p:nvSpPr>
        <p:spPr>
          <a:xfrm>
            <a:off x="4339760" y="375104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0" name="Google Shape;780;p81"/>
          <p:cNvSpPr txBox="1">
            <a:spLocks noGrp="1"/>
          </p:cNvSpPr>
          <p:nvPr>
            <p:ph type="body" idx="5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ctr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1" name="Google Shape;781;p81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2" name="Google Shape;782;p8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83" name="Google Shape;783;p81"/>
          <p:cNvSpPr txBox="1">
            <a:spLocks noGrp="1"/>
          </p:cNvSpPr>
          <p:nvPr>
            <p:ph type="body" idx="6"/>
          </p:nvPr>
        </p:nvSpPr>
        <p:spPr>
          <a:xfrm>
            <a:off x="2478979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4" name="Google Shape;784;p81"/>
          <p:cNvSpPr txBox="1">
            <a:spLocks noGrp="1"/>
          </p:cNvSpPr>
          <p:nvPr>
            <p:ph type="body" idx="7"/>
          </p:nvPr>
        </p:nvSpPr>
        <p:spPr>
          <a:xfrm>
            <a:off x="6370431" y="1228501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5" name="Google Shape;785;p81"/>
          <p:cNvSpPr txBox="1">
            <a:spLocks noGrp="1"/>
          </p:cNvSpPr>
          <p:nvPr>
            <p:ph type="body" idx="8"/>
          </p:nvPr>
        </p:nvSpPr>
        <p:spPr>
          <a:xfrm>
            <a:off x="52448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6" name="Google Shape;786;p81"/>
          <p:cNvSpPr txBox="1">
            <a:spLocks noGrp="1"/>
          </p:cNvSpPr>
          <p:nvPr>
            <p:ph type="body" idx="9"/>
          </p:nvPr>
        </p:nvSpPr>
        <p:spPr>
          <a:xfrm>
            <a:off x="4460077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7" name="Google Shape;787;p81"/>
          <p:cNvSpPr txBox="1">
            <a:spLocks noGrp="1"/>
          </p:cNvSpPr>
          <p:nvPr>
            <p:ph type="body" idx="13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788" name="Google Shape;788;p8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89" name="Google Shape;789;p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 boxes, Titles 6UP">
  <p:cSld name="TEXT Grid boxes, Titles 6UP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Google Shape;791;p82"/>
          <p:cNvSpPr txBox="1">
            <a:spLocks noGrp="1"/>
          </p:cNvSpPr>
          <p:nvPr>
            <p:ph type="body" idx="1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92" name="Google Shape;792;p82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3" name="Google Shape;793;p8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4" name="Google Shape;794;p82"/>
          <p:cNvSpPr/>
          <p:nvPr/>
        </p:nvSpPr>
        <p:spPr>
          <a:xfrm>
            <a:off x="412708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5" name="Google Shape;795;p82"/>
          <p:cNvSpPr txBox="1">
            <a:spLocks noGrp="1"/>
          </p:cNvSpPr>
          <p:nvPr>
            <p:ph type="body" idx="2"/>
          </p:nvPr>
        </p:nvSpPr>
        <p:spPr>
          <a:xfrm>
            <a:off x="4366871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82"/>
          <p:cNvSpPr/>
          <p:nvPr/>
        </p:nvSpPr>
        <p:spPr>
          <a:xfrm>
            <a:off x="4366871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7" name="Google Shape;797;p82"/>
          <p:cNvSpPr txBox="1">
            <a:spLocks noGrp="1"/>
          </p:cNvSpPr>
          <p:nvPr>
            <p:ph type="body" idx="3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98" name="Google Shape;798;p82"/>
          <p:cNvSpPr/>
          <p:nvPr/>
        </p:nvSpPr>
        <p:spPr>
          <a:xfrm>
            <a:off x="8259249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9" name="Google Shape;799;p82"/>
          <p:cNvSpPr txBox="1">
            <a:spLocks noGrp="1"/>
          </p:cNvSpPr>
          <p:nvPr>
            <p:ph type="body" idx="4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82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1" name="Google Shape;801;p82"/>
          <p:cNvSpPr/>
          <p:nvPr/>
        </p:nvSpPr>
        <p:spPr>
          <a:xfrm>
            <a:off x="412708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2" name="Google Shape;802;p82"/>
          <p:cNvSpPr txBox="1">
            <a:spLocks noGrp="1"/>
          </p:cNvSpPr>
          <p:nvPr>
            <p:ph type="body" idx="5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03" name="Google Shape;803;p82"/>
          <p:cNvSpPr/>
          <p:nvPr/>
        </p:nvSpPr>
        <p:spPr>
          <a:xfrm>
            <a:off x="4374433" y="3752201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4" name="Google Shape;804;p82"/>
          <p:cNvSpPr txBox="1">
            <a:spLocks noGrp="1"/>
          </p:cNvSpPr>
          <p:nvPr>
            <p:ph type="body" idx="6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05" name="Google Shape;805;p82"/>
          <p:cNvSpPr/>
          <p:nvPr/>
        </p:nvSpPr>
        <p:spPr>
          <a:xfrm>
            <a:off x="8259249" y="3749267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6" name="Google Shape;806;p82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7" name="Google Shape;807;p82"/>
          <p:cNvSpPr txBox="1">
            <a:spLocks noGrp="1"/>
          </p:cNvSpPr>
          <p:nvPr>
            <p:ph type="body" idx="7"/>
          </p:nvPr>
        </p:nvSpPr>
        <p:spPr>
          <a:xfrm>
            <a:off x="520708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08" name="Google Shape;808;p82"/>
          <p:cNvSpPr txBox="1">
            <a:spLocks noGrp="1"/>
          </p:cNvSpPr>
          <p:nvPr>
            <p:ph type="body" idx="8"/>
          </p:nvPr>
        </p:nvSpPr>
        <p:spPr>
          <a:xfrm>
            <a:off x="4482433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09" name="Google Shape;809;p82"/>
          <p:cNvSpPr txBox="1">
            <a:spLocks noGrp="1"/>
          </p:cNvSpPr>
          <p:nvPr>
            <p:ph type="body" idx="9"/>
          </p:nvPr>
        </p:nvSpPr>
        <p:spPr>
          <a:xfrm>
            <a:off x="8367249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10" name="Google Shape;810;p82"/>
          <p:cNvSpPr txBox="1">
            <a:spLocks noGrp="1"/>
          </p:cNvSpPr>
          <p:nvPr>
            <p:ph type="body" idx="13"/>
          </p:nvPr>
        </p:nvSpPr>
        <p:spPr>
          <a:xfrm>
            <a:off x="520708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11" name="Google Shape;811;p82"/>
          <p:cNvSpPr txBox="1">
            <a:spLocks noGrp="1"/>
          </p:cNvSpPr>
          <p:nvPr>
            <p:ph type="body" idx="14"/>
          </p:nvPr>
        </p:nvSpPr>
        <p:spPr>
          <a:xfrm>
            <a:off x="4482433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12" name="Google Shape;812;p82"/>
          <p:cNvSpPr txBox="1">
            <a:spLocks noGrp="1"/>
          </p:cNvSpPr>
          <p:nvPr>
            <p:ph type="body" idx="15"/>
          </p:nvPr>
        </p:nvSpPr>
        <p:spPr>
          <a:xfrm>
            <a:off x="8367249" y="3857267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813" name="Google Shape;813;p82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14" name="Google Shape;814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e and image 2">
  <p:cSld name="2_Quote and image 2">
    <p:spTree>
      <p:nvGrpSpPr>
        <p:cNvPr id="1" name="Shape 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6" name="Google Shape;816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8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8" name="Google Shape;818;p8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9" name="Google Shape;819;p83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20" name="Google Shape;820;p83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600" cy="6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21" name="Google Shape;821;p83"/>
          <p:cNvSpPr txBox="1"/>
          <p:nvPr/>
        </p:nvSpPr>
        <p:spPr>
          <a:xfrm>
            <a:off x="1245609" y="2349016"/>
            <a:ext cx="3552800" cy="1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67"/>
              <a:buFont typeface="Arial"/>
              <a:buNone/>
            </a:pPr>
            <a:r>
              <a:rPr lang="en-GB"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e and image 2">
  <p:cSld name="3_Quote and image 2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3" name="Google Shape;823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24" name="Google Shape;824;p8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5" name="Google Shape;825;p8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6" name="Google Shape;826;p84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27" name="Google Shape;827;p84"/>
          <p:cNvSpPr txBox="1">
            <a:spLocks noGrp="1"/>
          </p:cNvSpPr>
          <p:nvPr>
            <p:ph type="body" idx="1"/>
          </p:nvPr>
        </p:nvSpPr>
        <p:spPr>
          <a:xfrm>
            <a:off x="1337052" y="1673324"/>
            <a:ext cx="3461600" cy="6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700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28" name="Google Shape;828;p84"/>
          <p:cNvSpPr txBox="1"/>
          <p:nvPr/>
        </p:nvSpPr>
        <p:spPr>
          <a:xfrm>
            <a:off x="1245609" y="2349016"/>
            <a:ext cx="3552800" cy="1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67"/>
              <a:buFont typeface="Arial"/>
              <a:buNone/>
            </a:pPr>
            <a:r>
              <a:rPr lang="en-GB"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e and image 4">
  <p:cSld name="1_Quote and image 4"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Google Shape;830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31" name="Google Shape;831;p8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85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3" name="Google Shape;833;p8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4" name="Google Shape;834;p85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35" name="Google Shape;835;p85"/>
          <p:cNvSpPr txBox="1"/>
          <p:nvPr/>
        </p:nvSpPr>
        <p:spPr>
          <a:xfrm>
            <a:off x="1245609" y="2349016"/>
            <a:ext cx="3552800" cy="13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</a:pPr>
            <a:r>
              <a:rPr lang="en-GB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and image 4">
  <p:cSld name="Quote and image 4">
    <p:spTree>
      <p:nvGrpSpPr>
        <p:cNvPr id="1" name="Shape 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" name="Google Shape;837;p8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8" name="Google Shape;838;p86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9" name="Google Shape;839;p8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0" name="Google Shape;840;p8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pic>
        <p:nvPicPr>
          <p:cNvPr id="841" name="Google Shape;841;p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42" name="Google Shape;842;p86"/>
          <p:cNvSpPr txBox="1"/>
          <p:nvPr/>
        </p:nvSpPr>
        <p:spPr>
          <a:xfrm>
            <a:off x="1245609" y="2349016"/>
            <a:ext cx="3552800" cy="13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</a:pPr>
            <a:r>
              <a:rPr lang="en-GB"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“Quote text here. Quote text here. Quote text here.”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image">
  <p:cSld name="Full page image">
    <p:spTree>
      <p:nvGrpSpPr>
        <p:cNvPr id="1" name="Shape 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" name="Google Shape;844;p87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5" name="Google Shape;845;p8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8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ata 1">
  <p:cSld name="1_Data 1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Google Shape;848;p88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9" name="Google Shape;849;p88"/>
          <p:cNvSpPr txBox="1">
            <a:spLocks noGrp="1"/>
          </p:cNvSpPr>
          <p:nvPr>
            <p:ph type="title"/>
          </p:nvPr>
        </p:nvSpPr>
        <p:spPr>
          <a:xfrm>
            <a:off x="432000" y="310075"/>
            <a:ext cx="11404400" cy="4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88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1" name="Google Shape;851;p8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2" name="Google Shape;852;p88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8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54" name="Google Shape;854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855" name="Google Shape;855;p88"/>
          <p:cNvSpPr txBox="1">
            <a:spLocks noGrp="1"/>
          </p:cNvSpPr>
          <p:nvPr>
            <p:ph type="body" idx="1"/>
          </p:nvPr>
        </p:nvSpPr>
        <p:spPr>
          <a:xfrm>
            <a:off x="432001" y="767200"/>
            <a:ext cx="11012800" cy="5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1">
  <p:cSld name="Data 1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Google Shape;857;p89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8" name="Google Shape;858;p8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59" name="Google Shape;859;p89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0" name="Google Shape;860;p8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1" name="Google Shape;861;p89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2" name="Google Shape;862;p89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63" name="Google Shape;863;p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, subhead, bullets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F09CFFC-C421-A97A-14A3-FE2852D11994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771D90-A686-C949-8872-F69893BCF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D5CE1C-46DF-8846-A4A0-E19A9CC397B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4955267-CD3E-4484-1B20-32E90EB4ED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9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2">
  <p:cSld name="Data 2">
    <p:spTree>
      <p:nvGrpSpPr>
        <p:cNvPr id="1" name="Shape 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5" name="Google Shape;865;p90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6" name="Google Shape;866;p90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90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8" name="Google Shape;868;p9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9" name="Google Shape;869;p90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0" name="Google Shape;870;p90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71" name="Google Shape;871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ta 3">
  <p:cSld name="Data 3">
    <p:spTree>
      <p:nvGrpSpPr>
        <p:cNvPr id="1" name="Shape 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" name="Google Shape;873;p91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4" name="Google Shape;874;p91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75" name="Google Shape;875;p91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6" name="Google Shape;876;p9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7" name="Google Shape;877;p91"/>
          <p:cNvSpPr txBox="1"/>
          <p:nvPr/>
        </p:nvSpPr>
        <p:spPr>
          <a:xfrm>
            <a:off x="2232561" y="317071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8" name="Google Shape;878;p91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79" name="Google Shape;879;p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ACCESSIBLE">
  <p:cSld name="End Slide ACCESSIBLE">
    <p:spTree>
      <p:nvGrpSpPr>
        <p:cNvPr id="1" name="Shape 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1" name="Google Shape;881;p92"/>
          <p:cNvCxnSpPr/>
          <p:nvPr/>
        </p:nvCxnSpPr>
        <p:spPr>
          <a:xfrm>
            <a:off x="5715927" y="2605852"/>
            <a:ext cx="8652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" name="Google Shape;882;p9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3" name="Google Shape;883;p92"/>
          <p:cNvSpPr txBox="1"/>
          <p:nvPr/>
        </p:nvSpPr>
        <p:spPr>
          <a:xfrm>
            <a:off x="5610769" y="2808747"/>
            <a:ext cx="4343600" cy="26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EB8"/>
              </a:buClr>
              <a:buSzPts val="2700"/>
              <a:buFont typeface="Arial"/>
              <a:buNone/>
            </a:pPr>
            <a:r>
              <a:rPr lang="en-GB"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Thank You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@nhsengland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	company/nhsengland</a:t>
            </a:r>
            <a:endParaRPr sz="24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>
                <a:srgbClr val="005EB8"/>
              </a:buClr>
              <a:buSzPts val="1800"/>
              <a:buFont typeface="Arial"/>
              <a:buNone/>
            </a:pP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	england.nhs.uk</a:t>
            </a:r>
            <a:endParaRPr sz="24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84" name="Google Shape;884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72040" y="3665235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885" name="Google Shape;885;p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886" name="Google Shape;886;p9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67075" y="4806523"/>
            <a:ext cx="600076" cy="600076"/>
          </a:xfrm>
          <a:prstGeom prst="rect">
            <a:avLst/>
          </a:prstGeom>
          <a:noFill/>
          <a:ln>
            <a:noFill/>
          </a:ln>
        </p:spPr>
      </p:pic>
      <p:pic>
        <p:nvPicPr>
          <p:cNvPr id="887" name="Google Shape;887;p92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51045" y="364426"/>
            <a:ext cx="1208955" cy="979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888" name="Google Shape;888;p92" descr="Icon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400000">
            <a:off x="-2509141" y="-71522"/>
            <a:ext cx="10768951" cy="76162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ample-Icons-Layout">
  <p:cSld name="Sample-Icons-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93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91" name="Google Shape;891;p93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2" name="Google Shape;892;p9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3" name="Google Shape;893;p93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" name="Google Shape;894;p93"/>
          <p:cNvSpPr/>
          <p:nvPr/>
        </p:nvSpPr>
        <p:spPr>
          <a:xfrm>
            <a:off x="38305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5" name="Google Shape;895;p93"/>
          <p:cNvSpPr/>
          <p:nvPr/>
        </p:nvSpPr>
        <p:spPr>
          <a:xfrm>
            <a:off x="38305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6" name="Google Shape;896;p93"/>
          <p:cNvSpPr/>
          <p:nvPr/>
        </p:nvSpPr>
        <p:spPr>
          <a:xfrm>
            <a:off x="1534525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7" name="Google Shape;897;p93"/>
          <p:cNvSpPr/>
          <p:nvPr/>
        </p:nvSpPr>
        <p:spPr>
          <a:xfrm>
            <a:off x="2685992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8" name="Google Shape;898;p93"/>
          <p:cNvSpPr/>
          <p:nvPr/>
        </p:nvSpPr>
        <p:spPr>
          <a:xfrm>
            <a:off x="3837459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9" name="Google Shape;899;p93"/>
          <p:cNvSpPr/>
          <p:nvPr/>
        </p:nvSpPr>
        <p:spPr>
          <a:xfrm>
            <a:off x="498892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93"/>
          <p:cNvSpPr/>
          <p:nvPr/>
        </p:nvSpPr>
        <p:spPr>
          <a:xfrm>
            <a:off x="6140393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1" name="Google Shape;901;p93"/>
          <p:cNvSpPr/>
          <p:nvPr/>
        </p:nvSpPr>
        <p:spPr>
          <a:xfrm>
            <a:off x="7291860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2" name="Google Shape;902;p93"/>
          <p:cNvSpPr/>
          <p:nvPr/>
        </p:nvSpPr>
        <p:spPr>
          <a:xfrm>
            <a:off x="8443327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3" name="Google Shape;903;p93"/>
          <p:cNvSpPr/>
          <p:nvPr/>
        </p:nvSpPr>
        <p:spPr>
          <a:xfrm>
            <a:off x="9594795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4" name="Google Shape;904;p93"/>
          <p:cNvSpPr/>
          <p:nvPr/>
        </p:nvSpPr>
        <p:spPr>
          <a:xfrm>
            <a:off x="10746259" y="1811216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5" name="Google Shape;905;p93"/>
          <p:cNvSpPr/>
          <p:nvPr/>
        </p:nvSpPr>
        <p:spPr>
          <a:xfrm>
            <a:off x="1534525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6" name="Google Shape;906;p93"/>
          <p:cNvSpPr/>
          <p:nvPr/>
        </p:nvSpPr>
        <p:spPr>
          <a:xfrm>
            <a:off x="2685992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7" name="Google Shape;907;p93"/>
          <p:cNvSpPr/>
          <p:nvPr/>
        </p:nvSpPr>
        <p:spPr>
          <a:xfrm>
            <a:off x="3837459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8" name="Google Shape;908;p93"/>
          <p:cNvSpPr/>
          <p:nvPr/>
        </p:nvSpPr>
        <p:spPr>
          <a:xfrm>
            <a:off x="498892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9" name="Google Shape;909;p93"/>
          <p:cNvSpPr/>
          <p:nvPr/>
        </p:nvSpPr>
        <p:spPr>
          <a:xfrm>
            <a:off x="6140393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0" name="Google Shape;910;p93"/>
          <p:cNvSpPr/>
          <p:nvPr/>
        </p:nvSpPr>
        <p:spPr>
          <a:xfrm>
            <a:off x="7291860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1" name="Google Shape;911;p93"/>
          <p:cNvSpPr/>
          <p:nvPr/>
        </p:nvSpPr>
        <p:spPr>
          <a:xfrm>
            <a:off x="8443327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2" name="Google Shape;912;p93"/>
          <p:cNvSpPr/>
          <p:nvPr/>
        </p:nvSpPr>
        <p:spPr>
          <a:xfrm>
            <a:off x="9594795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3" name="Google Shape;913;p93"/>
          <p:cNvSpPr/>
          <p:nvPr/>
        </p:nvSpPr>
        <p:spPr>
          <a:xfrm>
            <a:off x="10746259" y="3175160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4" name="Google Shape;914;p93"/>
          <p:cNvSpPr/>
          <p:nvPr/>
        </p:nvSpPr>
        <p:spPr>
          <a:xfrm>
            <a:off x="38305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93"/>
          <p:cNvSpPr/>
          <p:nvPr/>
        </p:nvSpPr>
        <p:spPr>
          <a:xfrm>
            <a:off x="1534525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6" name="Google Shape;916;p93"/>
          <p:cNvSpPr/>
          <p:nvPr/>
        </p:nvSpPr>
        <p:spPr>
          <a:xfrm>
            <a:off x="2685992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7" name="Google Shape;917;p93"/>
          <p:cNvSpPr/>
          <p:nvPr/>
        </p:nvSpPr>
        <p:spPr>
          <a:xfrm>
            <a:off x="3837459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8" name="Google Shape;918;p93"/>
          <p:cNvSpPr/>
          <p:nvPr/>
        </p:nvSpPr>
        <p:spPr>
          <a:xfrm>
            <a:off x="498892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9" name="Google Shape;919;p93"/>
          <p:cNvSpPr/>
          <p:nvPr/>
        </p:nvSpPr>
        <p:spPr>
          <a:xfrm>
            <a:off x="6140393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0" name="Google Shape;920;p93"/>
          <p:cNvSpPr/>
          <p:nvPr/>
        </p:nvSpPr>
        <p:spPr>
          <a:xfrm>
            <a:off x="7291860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1" name="Google Shape;921;p93"/>
          <p:cNvSpPr/>
          <p:nvPr/>
        </p:nvSpPr>
        <p:spPr>
          <a:xfrm>
            <a:off x="8443327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2" name="Google Shape;922;p93"/>
          <p:cNvSpPr/>
          <p:nvPr/>
        </p:nvSpPr>
        <p:spPr>
          <a:xfrm>
            <a:off x="9594795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3" name="Google Shape;923;p93"/>
          <p:cNvSpPr/>
          <p:nvPr/>
        </p:nvSpPr>
        <p:spPr>
          <a:xfrm>
            <a:off x="10746259" y="4539104"/>
            <a:ext cx="1047200" cy="1024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24" name="Google Shape;924;p9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ample-Icons-Layout">
  <p:cSld name="1_Sample-Icons-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Google Shape;926;p94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7" name="Google Shape;927;p94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8" name="Google Shape;928;p9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9" name="Google Shape;929;p9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" name="Google Shape;930;p94"/>
          <p:cNvSpPr/>
          <p:nvPr/>
        </p:nvSpPr>
        <p:spPr>
          <a:xfrm>
            <a:off x="383057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1" name="Google Shape;931;p94"/>
          <p:cNvSpPr/>
          <p:nvPr/>
        </p:nvSpPr>
        <p:spPr>
          <a:xfrm>
            <a:off x="1534525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2" name="Google Shape;932;p94"/>
          <p:cNvSpPr/>
          <p:nvPr/>
        </p:nvSpPr>
        <p:spPr>
          <a:xfrm>
            <a:off x="2685992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3" name="Google Shape;933;p94"/>
          <p:cNvSpPr/>
          <p:nvPr/>
        </p:nvSpPr>
        <p:spPr>
          <a:xfrm>
            <a:off x="3837459" y="3175160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4" name="Google Shape;934;p94"/>
          <p:cNvSpPr/>
          <p:nvPr/>
        </p:nvSpPr>
        <p:spPr>
          <a:xfrm>
            <a:off x="383057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5" name="Google Shape;935;p94"/>
          <p:cNvSpPr/>
          <p:nvPr/>
        </p:nvSpPr>
        <p:spPr>
          <a:xfrm>
            <a:off x="1534525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6" name="Google Shape;936;p94"/>
          <p:cNvSpPr/>
          <p:nvPr/>
        </p:nvSpPr>
        <p:spPr>
          <a:xfrm>
            <a:off x="2685992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7" name="Google Shape;937;p94"/>
          <p:cNvSpPr/>
          <p:nvPr/>
        </p:nvSpPr>
        <p:spPr>
          <a:xfrm>
            <a:off x="3837459" y="4544899"/>
            <a:ext cx="1047200" cy="1024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8" name="Google Shape;938;p94"/>
          <p:cNvSpPr/>
          <p:nvPr/>
        </p:nvSpPr>
        <p:spPr>
          <a:xfrm>
            <a:off x="5122911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9" name="Google Shape;939;p94"/>
          <p:cNvSpPr/>
          <p:nvPr/>
        </p:nvSpPr>
        <p:spPr>
          <a:xfrm>
            <a:off x="7474153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0" name="Google Shape;940;p94"/>
          <p:cNvSpPr/>
          <p:nvPr/>
        </p:nvSpPr>
        <p:spPr>
          <a:xfrm>
            <a:off x="9825395" y="3175160"/>
            <a:ext cx="1991600" cy="1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41" name="Google Shape;941;p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942" name="Google Shape;942;p94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, subhead, two columns">
  <p:cSld name="2_Title, subhead, two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" name="Google Shape;944;p95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5" name="Google Shape;945;p95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 b="0">
                <a:solidFill>
                  <a:schemeClr val="accent6"/>
                </a:solidFill>
              </a:defRPr>
            </a:lvl1pPr>
            <a:lvl2pPr marL="914400" lvl="1" indent="-33655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accent6"/>
                </a:solidFill>
              </a:defRPr>
            </a:lvl2pPr>
            <a:lvl3pPr marL="1371600" lvl="2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3pPr>
            <a:lvl4pPr marL="1828800" lvl="3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4pPr>
            <a:lvl5pPr marL="2286000" lvl="4" indent="-33655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700"/>
              <a:buChar char="•"/>
              <a:defRPr sz="22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46" name="Google Shape;946;p95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800" cy="4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47" name="Google Shape;947;p95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95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9" name="Google Shape;949;p9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8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950" name="Google Shape;950;p95"/>
          <p:cNvCxnSpPr/>
          <p:nvPr/>
        </p:nvCxnSpPr>
        <p:spPr>
          <a:xfrm>
            <a:off x="408789" y="6336000"/>
            <a:ext cx="11399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951" name="Google Shape;951;p9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CON Grid Boxes 2UP Grey">
  <p:cSld name="ICON Grid Boxes 2UP Grey"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96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4" name="Google Shape;954;p96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5" name="Google Shape;955;p96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6" name="Google Shape;956;p96"/>
          <p:cNvSpPr txBox="1">
            <a:spLocks noGrp="1"/>
          </p:cNvSpPr>
          <p:nvPr>
            <p:ph type="body" idx="1"/>
          </p:nvPr>
        </p:nvSpPr>
        <p:spPr>
          <a:xfrm>
            <a:off x="432000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57" name="Google Shape;957;p96"/>
          <p:cNvSpPr/>
          <p:nvPr/>
        </p:nvSpPr>
        <p:spPr>
          <a:xfrm>
            <a:off x="432000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8" name="Google Shape;958;p96"/>
          <p:cNvSpPr txBox="1">
            <a:spLocks noGrp="1"/>
          </p:cNvSpPr>
          <p:nvPr>
            <p:ph type="body" idx="2"/>
          </p:nvPr>
        </p:nvSpPr>
        <p:spPr>
          <a:xfrm>
            <a:off x="4324379" y="2699083"/>
            <a:ext cx="3564000" cy="33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59" name="Google Shape;959;p96"/>
          <p:cNvSpPr/>
          <p:nvPr/>
        </p:nvSpPr>
        <p:spPr>
          <a:xfrm>
            <a:off x="4324379" y="1691081"/>
            <a:ext cx="3564000" cy="1008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0" name="Google Shape;960;p96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1" name="Google Shape;961;p9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62" name="Google Shape;962;p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63" name="Google Shape;963;p96"/>
          <p:cNvCxnSpPr/>
          <p:nvPr/>
        </p:nvCxnSpPr>
        <p:spPr>
          <a:xfrm>
            <a:off x="432000" y="6336000"/>
            <a:ext cx="113852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Grid, Titles 4UP Grey">
  <p:cSld name="TEXT Grid, Titles 4UP Grey">
    <p:spTree>
      <p:nvGrpSpPr>
        <p:cNvPr id="1" name="Shape 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" name="Google Shape;965;p97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6" name="Google Shape;966;p97"/>
          <p:cNvSpPr/>
          <p:nvPr/>
        </p:nvSpPr>
        <p:spPr>
          <a:xfrm>
            <a:off x="43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7" name="Google Shape;967;p97"/>
          <p:cNvSpPr txBox="1">
            <a:spLocks noGrp="1"/>
          </p:cNvSpPr>
          <p:nvPr>
            <p:ph type="body" idx="1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68" name="Google Shape;968;p97"/>
          <p:cNvSpPr txBox="1"/>
          <p:nvPr/>
        </p:nvSpPr>
        <p:spPr>
          <a:xfrm>
            <a:off x="4700955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9" name="Google Shape;969;p97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0" name="Google Shape;970;p97"/>
          <p:cNvSpPr txBox="1">
            <a:spLocks noGrp="1"/>
          </p:cNvSpPr>
          <p:nvPr>
            <p:ph type="body" idx="2"/>
          </p:nvPr>
        </p:nvSpPr>
        <p:spPr>
          <a:xfrm>
            <a:off x="4392000" y="2089033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71" name="Google Shape;971;p97"/>
          <p:cNvSpPr/>
          <p:nvPr/>
        </p:nvSpPr>
        <p:spPr>
          <a:xfrm>
            <a:off x="4392000" y="1188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2" name="Google Shape;972;p97"/>
          <p:cNvSpPr txBox="1">
            <a:spLocks noGrp="1"/>
          </p:cNvSpPr>
          <p:nvPr>
            <p:ph type="body" idx="3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7"/>
          <p:cNvSpPr txBox="1"/>
          <p:nvPr/>
        </p:nvSpPr>
        <p:spPr>
          <a:xfrm>
            <a:off x="4700955" y="6530388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4" name="Google Shape;974;p97"/>
          <p:cNvSpPr/>
          <p:nvPr/>
        </p:nvSpPr>
        <p:spPr>
          <a:xfrm>
            <a:off x="43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5" name="Google Shape;975;p97"/>
          <p:cNvSpPr txBox="1">
            <a:spLocks noGrp="1"/>
          </p:cNvSpPr>
          <p:nvPr>
            <p:ph type="body" idx="4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62000" tIns="162000" rIns="162000" bIns="162000" anchor="t" anchorCtr="0">
            <a:noAutofit/>
          </a:bodyPr>
          <a:lstStyle>
            <a:lvl1pPr marL="457200" lvl="0" indent="-22860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p97"/>
          <p:cNvSpPr/>
          <p:nvPr/>
        </p:nvSpPr>
        <p:spPr>
          <a:xfrm>
            <a:off x="4392000" y="3744000"/>
            <a:ext cx="3564000" cy="9000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4EB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" name="Google Shape;977;p97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400" cy="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78" name="Google Shape;978;p97"/>
          <p:cNvSpPr txBox="1">
            <a:spLocks noGrp="1"/>
          </p:cNvSpPr>
          <p:nvPr>
            <p:ph type="body" idx="5"/>
          </p:nvPr>
        </p:nvSpPr>
        <p:spPr>
          <a:xfrm>
            <a:off x="540000" y="1296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79" name="Google Shape;979;p97"/>
          <p:cNvSpPr txBox="1">
            <a:spLocks noGrp="1"/>
          </p:cNvSpPr>
          <p:nvPr>
            <p:ph type="body" idx="6"/>
          </p:nvPr>
        </p:nvSpPr>
        <p:spPr>
          <a:xfrm>
            <a:off x="4500000" y="1302463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80" name="Google Shape;980;p97"/>
          <p:cNvSpPr txBox="1">
            <a:spLocks noGrp="1"/>
          </p:cNvSpPr>
          <p:nvPr>
            <p:ph type="body" idx="7"/>
          </p:nvPr>
        </p:nvSpPr>
        <p:spPr>
          <a:xfrm>
            <a:off x="54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81" name="Google Shape;981;p97"/>
          <p:cNvSpPr txBox="1">
            <a:spLocks noGrp="1"/>
          </p:cNvSpPr>
          <p:nvPr>
            <p:ph type="body" idx="8"/>
          </p:nvPr>
        </p:nvSpPr>
        <p:spPr>
          <a:xfrm>
            <a:off x="4500000" y="3852000"/>
            <a:ext cx="3348000" cy="6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accent6"/>
              </a:buClr>
              <a:buSzPts val="1700"/>
              <a:buNone/>
              <a:defRPr sz="2267" b="1">
                <a:solidFill>
                  <a:schemeClr val="accent6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982" name="Google Shape;982;p97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983" name="Google Shape;983;p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blue">
  <p:cSld name="Quote blue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98"/>
          <p:cNvSpPr/>
          <p:nvPr/>
        </p:nvSpPr>
        <p:spPr>
          <a:xfrm>
            <a:off x="0" y="0"/>
            <a:ext cx="12206800" cy="6872800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6" name="Google Shape;986;p98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" name="Google Shape;987;p98"/>
          <p:cNvSpPr txBox="1">
            <a:spLocks noGrp="1"/>
          </p:cNvSpPr>
          <p:nvPr>
            <p:ph type="body" idx="1"/>
          </p:nvPr>
        </p:nvSpPr>
        <p:spPr>
          <a:xfrm>
            <a:off x="537224" y="1314156"/>
            <a:ext cx="7504000" cy="34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88" name="Google Shape;988;p98"/>
          <p:cNvSpPr txBox="1">
            <a:spLocks noGrp="1"/>
          </p:cNvSpPr>
          <p:nvPr>
            <p:ph type="body" idx="2"/>
          </p:nvPr>
        </p:nvSpPr>
        <p:spPr>
          <a:xfrm>
            <a:off x="828000" y="4780883"/>
            <a:ext cx="7504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989" name="Google Shape;989;p98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990" name="Google Shape;990;p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1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reaker Heading1-Blue-DarkBlueA">
  <p:cSld name="7_Breaker Heading1-Blue-DarkBlueA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2" name="Google Shape;992;p99" descr="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93" name="Google Shape;993;p99"/>
          <p:cNvSpPr txBox="1">
            <a:spLocks noGrp="1"/>
          </p:cNvSpPr>
          <p:nvPr>
            <p:ph type="body" idx="1"/>
          </p:nvPr>
        </p:nvSpPr>
        <p:spPr>
          <a:xfrm>
            <a:off x="854599" y="3903219"/>
            <a:ext cx="3890000" cy="8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5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6"/>
              </a:buClr>
              <a:buSzPts val="1400"/>
              <a:buNone/>
              <a:defRPr/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94" name="Google Shape;994;p99"/>
          <p:cNvSpPr txBox="1">
            <a:spLocks noGrp="1"/>
          </p:cNvSpPr>
          <p:nvPr>
            <p:ph type="body" idx="2"/>
          </p:nvPr>
        </p:nvSpPr>
        <p:spPr>
          <a:xfrm>
            <a:off x="854599" y="1917291"/>
            <a:ext cx="5685600" cy="15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4500"/>
              <a:buNone/>
              <a:defRPr sz="6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95" name="Google Shape;995;p99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lide with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2C3761D-E146-5B7A-CD68-6CC98EA19A5F}"/>
              </a:ext>
            </a:extLst>
          </p:cNvPr>
          <p:cNvSpPr/>
          <p:nvPr userDrawn="1"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4093" y="1647568"/>
            <a:ext cx="4909569" cy="313006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ts val="42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line over a number of lines,</a:t>
            </a:r>
            <a:br>
              <a:rPr lang="en-GB"/>
            </a:br>
            <a:r>
              <a:rPr lang="en-GB"/>
              <a:t>keep to maximum of four lin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</p:spTree>
    <p:extLst>
      <p:ext uri="{BB962C8B-B14F-4D97-AF65-F5344CB8AC3E}">
        <p14:creationId xmlns:p14="http://schemas.microsoft.com/office/powerpoint/2010/main" val="290901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1">
  <p:cSld name="1_Headline and image with header 1"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100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8" name="Google Shape;998;p100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1">
  <p:cSld name="2_Headline and image with header 1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101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1" name="Google Shape;1001;p101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Headline and image with header 4">
  <p:cSld name="2_Headline and image with header 4"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p10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" name="Google Shape;1004;p102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5" name="Google Shape;1005;p102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6" name="Google Shape;1006;p102"/>
          <p:cNvSpPr txBox="1"/>
          <p:nvPr/>
        </p:nvSpPr>
        <p:spPr>
          <a:xfrm>
            <a:off x="7202551" y="2249424"/>
            <a:ext cx="4428000" cy="12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67"/>
              <a:buFont typeface="Arial"/>
              <a:buNone/>
            </a:pPr>
            <a:r>
              <a:rPr lang="en-GB" sz="18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ntent goes over single column. Text content here goes over single column. Text content here goes over single column.  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and image with header 4">
  <p:cSld name="Headline and image with header 4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0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9" name="Google Shape;1009;p103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0" name="Google Shape;1010;p103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line and image with header 4">
  <p:cSld name="1_Headline and image with header 4">
    <p:spTree>
      <p:nvGrpSpPr>
        <p:cNvPr id="1" name="Shape 1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2" name="Google Shape;1012;p10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" name="Google Shape;1013;p104"/>
          <p:cNvSpPr txBox="1"/>
          <p:nvPr/>
        </p:nvSpPr>
        <p:spPr>
          <a:xfrm>
            <a:off x="1963271" y="-121023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4" name="Google Shape;1014;p104"/>
          <p:cNvSpPr/>
          <p:nvPr/>
        </p:nvSpPr>
        <p:spPr>
          <a:xfrm>
            <a:off x="11444644" y="6404977"/>
            <a:ext cx="3724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title slide">
  <p:cSld name="Front 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8"/>
          <p:cNvSpPr/>
          <p:nvPr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8" descr="A picture containing ic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30720" y="-508517"/>
            <a:ext cx="11319578" cy="800566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8"/>
          <p:cNvSpPr txBox="1">
            <a:spLocks noGrp="1"/>
          </p:cNvSpPr>
          <p:nvPr>
            <p:ph type="ctrTitle"/>
          </p:nvPr>
        </p:nvSpPr>
        <p:spPr>
          <a:xfrm>
            <a:off x="432000" y="1002268"/>
            <a:ext cx="4643853" cy="2507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8"/>
          <p:cNvSpPr txBox="1">
            <a:spLocks noGrp="1"/>
          </p:cNvSpPr>
          <p:nvPr>
            <p:ph type="subTitle" idx="1"/>
          </p:nvPr>
        </p:nvSpPr>
        <p:spPr>
          <a:xfrm>
            <a:off x="432000" y="3600000"/>
            <a:ext cx="7973051" cy="1024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800"/>
              <a:buNone/>
              <a:defRPr sz="2800">
                <a:solidFill>
                  <a:schemeClr val="accent6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" name="Google Shape;20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30022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1" name="Google Shape;21;p8"/>
          <p:cNvSpPr txBox="1"/>
          <p:nvPr/>
        </p:nvSpPr>
        <p:spPr>
          <a:xfrm>
            <a:off x="3225114" y="601774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8"/>
          <p:cNvSpPr txBox="1">
            <a:spLocks noGrp="1"/>
          </p:cNvSpPr>
          <p:nvPr>
            <p:ph type="body" idx="2"/>
          </p:nvPr>
        </p:nvSpPr>
        <p:spPr>
          <a:xfrm>
            <a:off x="432000" y="5760000"/>
            <a:ext cx="6259513" cy="488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400"/>
              <a:buNone/>
              <a:defRPr sz="2400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>
                <a:solidFill>
                  <a:schemeClr val="accen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000"/>
              <a:buNone/>
              <a:defRPr>
                <a:solidFill>
                  <a:schemeClr val="accen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8"/>
          <p:cNvSpPr txBox="1"/>
          <p:nvPr/>
        </p:nvSpPr>
        <p:spPr>
          <a:xfrm>
            <a:off x="9233452" y="5486400"/>
            <a:ext cx="18473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4" name="Google Shape;24;p8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51045" y="364425"/>
            <a:ext cx="1208955" cy="9797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, subhead, two columns">
  <p:cSld name="1_Title, subhead, two columns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9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9"/>
          <p:cNvSpPr txBox="1">
            <a:spLocks noGrp="1"/>
          </p:cNvSpPr>
          <p:nvPr>
            <p:ph type="body"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accent6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9"/>
          <p:cNvSpPr txBox="1">
            <a:spLocks noGrp="1"/>
          </p:cNvSpPr>
          <p:nvPr>
            <p:ph type="body" idx="2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accent6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9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9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2" name="Google Shape;32;p9"/>
          <p:cNvCxnSpPr/>
          <p:nvPr/>
        </p:nvCxnSpPr>
        <p:spPr>
          <a:xfrm>
            <a:off x="408789" y="6336000"/>
            <a:ext cx="11399211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3" name="Google Shape;33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eading, content, basic text one col">
  <p:cSld name="Heading, content, basic text one col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4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47413" y="3166643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412708" y="2106000"/>
            <a:ext cx="7632000" cy="4026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Arial"/>
              <a:buNone/>
              <a:defRPr sz="2200" b="0">
                <a:solidFill>
                  <a:schemeClr val="accent6"/>
                </a:solidFill>
              </a:defRPr>
            </a:lvl1pPr>
            <a:lvl2pPr marL="914400" lvl="1" indent="-3683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2pPr>
            <a:lvl3pPr marL="1371600" lvl="2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3pPr>
            <a:lvl4pPr marL="1828800" lvl="3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4pPr>
            <a:lvl5pPr marL="2286000" lvl="4" indent="-368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00"/>
              <a:buChar char="•"/>
              <a:defRPr sz="22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14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39;p14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" name="Google Shape;40;p14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ample-Icons-Layout">
  <p:cSld name="Sample-Icons-Layou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5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44;p15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5" name="Google Shape;45;p15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" name="Google Shape;46;p15"/>
          <p:cNvSpPr/>
          <p:nvPr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15"/>
          <p:cNvSpPr/>
          <p:nvPr/>
        </p:nvSpPr>
        <p:spPr>
          <a:xfrm>
            <a:off x="383058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15"/>
          <p:cNvSpPr/>
          <p:nvPr/>
        </p:nvSpPr>
        <p:spPr>
          <a:xfrm>
            <a:off x="1534525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15"/>
          <p:cNvSpPr/>
          <p:nvPr/>
        </p:nvSpPr>
        <p:spPr>
          <a:xfrm>
            <a:off x="2685992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15"/>
          <p:cNvSpPr/>
          <p:nvPr/>
        </p:nvSpPr>
        <p:spPr>
          <a:xfrm>
            <a:off x="3837459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15"/>
          <p:cNvSpPr/>
          <p:nvPr/>
        </p:nvSpPr>
        <p:spPr>
          <a:xfrm>
            <a:off x="4988926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5"/>
          <p:cNvSpPr/>
          <p:nvPr/>
        </p:nvSpPr>
        <p:spPr>
          <a:xfrm>
            <a:off x="6140393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15"/>
          <p:cNvSpPr/>
          <p:nvPr/>
        </p:nvSpPr>
        <p:spPr>
          <a:xfrm>
            <a:off x="7291860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15"/>
          <p:cNvSpPr/>
          <p:nvPr/>
        </p:nvSpPr>
        <p:spPr>
          <a:xfrm>
            <a:off x="8443327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15"/>
          <p:cNvSpPr/>
          <p:nvPr/>
        </p:nvSpPr>
        <p:spPr>
          <a:xfrm>
            <a:off x="9594794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5"/>
          <p:cNvSpPr/>
          <p:nvPr/>
        </p:nvSpPr>
        <p:spPr>
          <a:xfrm>
            <a:off x="10746258" y="1811216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5"/>
          <p:cNvSpPr/>
          <p:nvPr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58;p15"/>
          <p:cNvSpPr/>
          <p:nvPr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15"/>
          <p:cNvSpPr/>
          <p:nvPr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15"/>
          <p:cNvSpPr/>
          <p:nvPr/>
        </p:nvSpPr>
        <p:spPr>
          <a:xfrm>
            <a:off x="4988926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5"/>
          <p:cNvSpPr/>
          <p:nvPr/>
        </p:nvSpPr>
        <p:spPr>
          <a:xfrm>
            <a:off x="6140393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15"/>
          <p:cNvSpPr/>
          <p:nvPr/>
        </p:nvSpPr>
        <p:spPr>
          <a:xfrm>
            <a:off x="7291860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15"/>
          <p:cNvSpPr/>
          <p:nvPr/>
        </p:nvSpPr>
        <p:spPr>
          <a:xfrm>
            <a:off x="8443327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15"/>
          <p:cNvSpPr/>
          <p:nvPr/>
        </p:nvSpPr>
        <p:spPr>
          <a:xfrm>
            <a:off x="9594794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15"/>
          <p:cNvSpPr/>
          <p:nvPr/>
        </p:nvSpPr>
        <p:spPr>
          <a:xfrm>
            <a:off x="10746258" y="3175160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15"/>
          <p:cNvSpPr/>
          <p:nvPr/>
        </p:nvSpPr>
        <p:spPr>
          <a:xfrm>
            <a:off x="383058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15"/>
          <p:cNvSpPr/>
          <p:nvPr/>
        </p:nvSpPr>
        <p:spPr>
          <a:xfrm>
            <a:off x="1534525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68;p15"/>
          <p:cNvSpPr/>
          <p:nvPr/>
        </p:nvSpPr>
        <p:spPr>
          <a:xfrm>
            <a:off x="2685992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69;p15"/>
          <p:cNvSpPr/>
          <p:nvPr/>
        </p:nvSpPr>
        <p:spPr>
          <a:xfrm>
            <a:off x="3837459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15"/>
          <p:cNvSpPr/>
          <p:nvPr/>
        </p:nvSpPr>
        <p:spPr>
          <a:xfrm>
            <a:off x="4988926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15"/>
          <p:cNvSpPr/>
          <p:nvPr/>
        </p:nvSpPr>
        <p:spPr>
          <a:xfrm>
            <a:off x="6140393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72;p15"/>
          <p:cNvSpPr/>
          <p:nvPr/>
        </p:nvSpPr>
        <p:spPr>
          <a:xfrm>
            <a:off x="7291860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73;p15"/>
          <p:cNvSpPr/>
          <p:nvPr/>
        </p:nvSpPr>
        <p:spPr>
          <a:xfrm>
            <a:off x="8443327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15"/>
          <p:cNvSpPr/>
          <p:nvPr/>
        </p:nvSpPr>
        <p:spPr>
          <a:xfrm>
            <a:off x="9594794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15"/>
          <p:cNvSpPr/>
          <p:nvPr/>
        </p:nvSpPr>
        <p:spPr>
          <a:xfrm>
            <a:off x="10746258" y="4539104"/>
            <a:ext cx="1047157" cy="102465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6" name="Google Shape;76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ample-Icons-Layout">
  <p:cSld name="1_Sample-Icons-Layou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6"/>
          <p:cNvSpPr/>
          <p:nvPr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4700954" y="423203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11444644" y="6404977"/>
            <a:ext cx="3722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" name="Google Shape;81;p16"/>
          <p:cNvCxnSpPr/>
          <p:nvPr/>
        </p:nvCxnSpPr>
        <p:spPr>
          <a:xfrm>
            <a:off x="432000" y="6336000"/>
            <a:ext cx="11376000" cy="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" name="Google Shape;82;p16"/>
          <p:cNvSpPr/>
          <p:nvPr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16"/>
          <p:cNvSpPr/>
          <p:nvPr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16"/>
          <p:cNvSpPr/>
          <p:nvPr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6"/>
          <p:cNvSpPr/>
          <p:nvPr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86;p16"/>
          <p:cNvSpPr/>
          <p:nvPr/>
        </p:nvSpPr>
        <p:spPr>
          <a:xfrm>
            <a:off x="383058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16"/>
          <p:cNvSpPr/>
          <p:nvPr/>
        </p:nvSpPr>
        <p:spPr>
          <a:xfrm>
            <a:off x="1534525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16"/>
          <p:cNvSpPr/>
          <p:nvPr/>
        </p:nvSpPr>
        <p:spPr>
          <a:xfrm>
            <a:off x="2685992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p16"/>
          <p:cNvSpPr/>
          <p:nvPr/>
        </p:nvSpPr>
        <p:spPr>
          <a:xfrm>
            <a:off x="3837459" y="4544899"/>
            <a:ext cx="1047157" cy="1024653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16"/>
          <p:cNvSpPr/>
          <p:nvPr/>
        </p:nvSpPr>
        <p:spPr>
          <a:xfrm>
            <a:off x="5122911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16"/>
          <p:cNvSpPr/>
          <p:nvPr/>
        </p:nvSpPr>
        <p:spPr>
          <a:xfrm>
            <a:off x="7474153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16"/>
          <p:cNvSpPr/>
          <p:nvPr/>
        </p:nvSpPr>
        <p:spPr>
          <a:xfrm>
            <a:off x="9825395" y="3175160"/>
            <a:ext cx="1991467" cy="194866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3" name="Google Shape;93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9220370" y="244040"/>
            <a:ext cx="3064672" cy="187960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6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image" Target="../media/image19.jpeg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42" Type="http://schemas.openxmlformats.org/officeDocument/2006/relationships/slideLayout" Target="../slideLayouts/slideLayout136.xml"/><Relationship Id="rId47" Type="http://schemas.openxmlformats.org/officeDocument/2006/relationships/slideLayout" Target="../slideLayouts/slideLayout141.xml"/><Relationship Id="rId50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31.xml"/><Relationship Id="rId40" Type="http://schemas.openxmlformats.org/officeDocument/2006/relationships/slideLayout" Target="../slideLayouts/slideLayout134.xml"/><Relationship Id="rId45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49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4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Relationship Id="rId43" Type="http://schemas.openxmlformats.org/officeDocument/2006/relationships/slideLayout" Target="../slideLayouts/slideLayout137.xml"/><Relationship Id="rId48" Type="http://schemas.openxmlformats.org/officeDocument/2006/relationships/slideLayout" Target="../slideLayouts/slideLayout142.xml"/><Relationship Id="rId8" Type="http://schemas.openxmlformats.org/officeDocument/2006/relationships/slideLayout" Target="../slideLayouts/slideLayout102.xml"/><Relationship Id="rId51" Type="http://schemas.openxmlformats.org/officeDocument/2006/relationships/theme" Target="../theme/theme3.xml"/><Relationship Id="rId3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32.xml"/><Relationship Id="rId4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14.xml"/><Relationship Id="rId41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9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165.xml"/><Relationship Id="rId34" Type="http://schemas.openxmlformats.org/officeDocument/2006/relationships/slideLayout" Target="../slideLayouts/slideLayout178.xml"/><Relationship Id="rId42" Type="http://schemas.openxmlformats.org/officeDocument/2006/relationships/slideLayout" Target="../slideLayouts/slideLayout186.xml"/><Relationship Id="rId47" Type="http://schemas.openxmlformats.org/officeDocument/2006/relationships/theme" Target="../theme/theme4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slideLayout" Target="../slideLayouts/slideLayout176.xml"/><Relationship Id="rId37" Type="http://schemas.openxmlformats.org/officeDocument/2006/relationships/slideLayout" Target="../slideLayouts/slideLayout181.xml"/><Relationship Id="rId40" Type="http://schemas.openxmlformats.org/officeDocument/2006/relationships/slideLayout" Target="../slideLayouts/slideLayout184.xml"/><Relationship Id="rId45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36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75.xml"/><Relationship Id="rId44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slideLayout" Target="../slideLayouts/slideLayout179.xml"/><Relationship Id="rId43" Type="http://schemas.openxmlformats.org/officeDocument/2006/relationships/slideLayout" Target="../slideLayouts/slideLayout187.xml"/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slideLayout" Target="../slideLayouts/slideLayout177.xml"/><Relationship Id="rId38" Type="http://schemas.openxmlformats.org/officeDocument/2006/relationships/slideLayout" Target="../slideLayouts/slideLayout182.xml"/><Relationship Id="rId4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64.xml"/><Relationship Id="rId41" Type="http://schemas.openxmlformats.org/officeDocument/2006/relationships/slideLayout" Target="../slideLayouts/slideLayout18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slideLayout" Target="../slideLayouts/slideLayout216.xml"/><Relationship Id="rId39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11.xml"/><Relationship Id="rId34" Type="http://schemas.openxmlformats.org/officeDocument/2006/relationships/slideLayout" Target="../slideLayouts/slideLayout224.xml"/><Relationship Id="rId42" Type="http://schemas.openxmlformats.org/officeDocument/2006/relationships/slideLayout" Target="../slideLayouts/slideLayout232.xml"/><Relationship Id="rId47" Type="http://schemas.openxmlformats.org/officeDocument/2006/relationships/slideLayout" Target="../slideLayouts/slideLayout237.xml"/><Relationship Id="rId50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32" Type="http://schemas.openxmlformats.org/officeDocument/2006/relationships/slideLayout" Target="../slideLayouts/slideLayout222.xml"/><Relationship Id="rId37" Type="http://schemas.openxmlformats.org/officeDocument/2006/relationships/slideLayout" Target="../slideLayouts/slideLayout227.xml"/><Relationship Id="rId40" Type="http://schemas.openxmlformats.org/officeDocument/2006/relationships/slideLayout" Target="../slideLayouts/slideLayout230.xml"/><Relationship Id="rId45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slideLayout" Target="../slideLayouts/slideLayout218.xml"/><Relationship Id="rId36" Type="http://schemas.openxmlformats.org/officeDocument/2006/relationships/slideLayout" Target="../slideLayouts/slideLayout226.xml"/><Relationship Id="rId49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21.xml"/><Relationship Id="rId44" Type="http://schemas.openxmlformats.org/officeDocument/2006/relationships/slideLayout" Target="../slideLayouts/slideLayout234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20.xml"/><Relationship Id="rId35" Type="http://schemas.openxmlformats.org/officeDocument/2006/relationships/slideLayout" Target="../slideLayouts/slideLayout225.xml"/><Relationship Id="rId43" Type="http://schemas.openxmlformats.org/officeDocument/2006/relationships/slideLayout" Target="../slideLayouts/slideLayout233.xml"/><Relationship Id="rId48" Type="http://schemas.openxmlformats.org/officeDocument/2006/relationships/slideLayout" Target="../slideLayouts/slideLayout238.xml"/><Relationship Id="rId8" Type="http://schemas.openxmlformats.org/officeDocument/2006/relationships/slideLayout" Target="../slideLayouts/slideLayout198.xml"/><Relationship Id="rId51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slideLayout" Target="../slideLayouts/slideLayout215.xml"/><Relationship Id="rId33" Type="http://schemas.openxmlformats.org/officeDocument/2006/relationships/slideLayout" Target="../slideLayouts/slideLayout223.xml"/><Relationship Id="rId38" Type="http://schemas.openxmlformats.org/officeDocument/2006/relationships/slideLayout" Target="../slideLayouts/slideLayout228.xml"/><Relationship Id="rId4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10.xml"/><Relationship Id="rId41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9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62.xml"/><Relationship Id="rId34" Type="http://schemas.openxmlformats.org/officeDocument/2006/relationships/slideLayout" Target="../slideLayouts/slideLayout275.xml"/><Relationship Id="rId42" Type="http://schemas.openxmlformats.org/officeDocument/2006/relationships/slideLayout" Target="../slideLayouts/slideLayout283.xml"/><Relationship Id="rId47" Type="http://schemas.openxmlformats.org/officeDocument/2006/relationships/image" Target="../media/image19.jpeg"/><Relationship Id="rId7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8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theme" Target="../theme/theme6.xml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CE947E-1F3C-4CE2-B205-42ACABCDF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4187EB-CD8C-4429-80A8-057E397FF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8BCC8-525B-41FD-8646-596B1960C6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4574AD-8404-48D7-8DB8-BCC9125C3396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64A6-47BB-43DB-A152-9E1555760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33BD63-EE18-4132-8F91-68A0A2C0D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18431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15" r:id="rId1"/>
    <p:sldLayoutId id="2147484316" r:id="rId2"/>
    <p:sldLayoutId id="2147484317" r:id="rId3"/>
    <p:sldLayoutId id="2147484318" r:id="rId4"/>
    <p:sldLayoutId id="2147484319" r:id="rId5"/>
    <p:sldLayoutId id="2147484320" r:id="rId6"/>
    <p:sldLayoutId id="2147484321" r:id="rId7"/>
    <p:sldLayoutId id="2147484322" r:id="rId8"/>
    <p:sldLayoutId id="2147484323" r:id="rId9"/>
    <p:sldLayoutId id="2147484324" r:id="rId10"/>
    <p:sldLayoutId id="2147484303" r:id="rId11"/>
    <p:sldLayoutId id="2147484304" r:id="rId12"/>
    <p:sldLayoutId id="2147484305" r:id="rId13"/>
    <p:sldLayoutId id="2147484328" r:id="rId14"/>
    <p:sldLayoutId id="2147484329" r:id="rId15"/>
    <p:sldLayoutId id="2147484330" r:id="rId16"/>
    <p:sldLayoutId id="2147484331" r:id="rId17"/>
    <p:sldLayoutId id="2147484332" r:id="rId18"/>
    <p:sldLayoutId id="2147484333" r:id="rId19"/>
    <p:sldLayoutId id="2147484334" r:id="rId20"/>
    <p:sldLayoutId id="2147484335" r:id="rId21"/>
    <p:sldLayoutId id="2147484336" r:id="rId22"/>
    <p:sldLayoutId id="2147484337" r:id="rId23"/>
    <p:sldLayoutId id="2147484338" r:id="rId24"/>
    <p:sldLayoutId id="2147484339" r:id="rId25"/>
    <p:sldLayoutId id="2147484340" r:id="rId26"/>
    <p:sldLayoutId id="2147484341" r:id="rId27"/>
    <p:sldLayoutId id="2147484342" r:id="rId28"/>
    <p:sldLayoutId id="2147484343" r:id="rId29"/>
    <p:sldLayoutId id="2147484344" r:id="rId30"/>
    <p:sldLayoutId id="2147484345" r:id="rId31"/>
    <p:sldLayoutId id="2147484346" r:id="rId32"/>
    <p:sldLayoutId id="2147484347" r:id="rId33"/>
    <p:sldLayoutId id="2147484348" r:id="rId34"/>
    <p:sldLayoutId id="2147484349" r:id="rId35"/>
    <p:sldLayoutId id="2147484306" r:id="rId36"/>
    <p:sldLayoutId id="2147484307" r:id="rId37"/>
    <p:sldLayoutId id="2147484308" r:id="rId38"/>
    <p:sldLayoutId id="2147484309" r:id="rId39"/>
    <p:sldLayoutId id="2147484310" r:id="rId40"/>
    <p:sldLayoutId id="2147483749" r:id="rId41"/>
    <p:sldLayoutId id="2147483750" r:id="rId42"/>
    <p:sldLayoutId id="2147483751" r:id="rId43"/>
    <p:sldLayoutId id="2147483752" r:id="rId44"/>
    <p:sldLayoutId id="2147483753" r:id="rId45"/>
    <p:sldLayoutId id="2147483754" r:id="rId46"/>
    <p:sldLayoutId id="2147483755" r:id="rId47"/>
    <p:sldLayoutId id="2147483756" r:id="rId48"/>
    <p:sldLayoutId id="2147483757" r:id="rId49"/>
    <p:sldLayoutId id="2147483758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6">
            <a:alphaModFix/>
          </a:blip>
          <a:stretch>
            <a:fillRect/>
          </a:stretch>
        </a:blipFill>
        <a:effectLst/>
      </p:bgPr>
    </p:bg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8" name="Google Shape;538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6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9" name="Google Shape;539;p1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0" name="Google Shape;540;p1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1" name="Google Shape;541;p1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5027" r:id="rId3"/>
    <p:sldLayoutId id="2147485028" r:id="rId4"/>
    <p:sldLayoutId id="2147485029" r:id="rId5"/>
    <p:sldLayoutId id="2147485030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4325" r:id="rId20"/>
    <p:sldLayoutId id="2147484326" r:id="rId21"/>
    <p:sldLayoutId id="2147484327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  <p:sldLayoutId id="2147483738" r:id="rId39"/>
    <p:sldLayoutId id="2147483739" r:id="rId40"/>
    <p:sldLayoutId id="2147483740" r:id="rId41"/>
    <p:sldLayoutId id="2147483741" r:id="rId42"/>
    <p:sldLayoutId id="2147483742" r:id="rId43"/>
    <p:sldLayoutId id="2147483743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4350" r:id="rId11"/>
    <p:sldLayoutId id="2147485018" r:id="rId12"/>
    <p:sldLayoutId id="2147485019" r:id="rId13"/>
    <p:sldLayoutId id="2147485020" r:id="rId14"/>
    <p:sldLayoutId id="2147485021" r:id="rId15"/>
    <p:sldLayoutId id="2147485022" r:id="rId16"/>
    <p:sldLayoutId id="2147484356" r:id="rId17"/>
    <p:sldLayoutId id="2147484357" r:id="rId18"/>
    <p:sldLayoutId id="2147485023" r:id="rId19"/>
    <p:sldLayoutId id="2147484359" r:id="rId20"/>
    <p:sldLayoutId id="2147484360" r:id="rId21"/>
    <p:sldLayoutId id="2147484361" r:id="rId22"/>
    <p:sldLayoutId id="2147484362" r:id="rId23"/>
    <p:sldLayoutId id="2147485024" r:id="rId24"/>
    <p:sldLayoutId id="2147484363" r:id="rId25"/>
    <p:sldLayoutId id="2147484364" r:id="rId26"/>
    <p:sldLayoutId id="2147484365" r:id="rId27"/>
    <p:sldLayoutId id="2147484366" r:id="rId28"/>
    <p:sldLayoutId id="2147484367" r:id="rId29"/>
    <p:sldLayoutId id="2147484368" r:id="rId30"/>
    <p:sldLayoutId id="2147485025" r:id="rId31"/>
    <p:sldLayoutId id="2147485026" r:id="rId32"/>
    <p:sldLayoutId id="2147484369" r:id="rId33"/>
    <p:sldLayoutId id="2147484370" r:id="rId34"/>
    <p:sldLayoutId id="2147484371" r:id="rId35"/>
    <p:sldLayoutId id="2147484372" r:id="rId36"/>
    <p:sldLayoutId id="2147484373" r:id="rId37"/>
    <p:sldLayoutId id="2147484374" r:id="rId38"/>
    <p:sldLayoutId id="2147484375" r:id="rId39"/>
    <p:sldLayoutId id="2147484376" r:id="rId40"/>
    <p:sldLayoutId id="2147484377" r:id="rId41"/>
    <p:sldLayoutId id="2147484378" r:id="rId42"/>
    <p:sldLayoutId id="2147484379" r:id="rId43"/>
    <p:sldLayoutId id="2147484380" r:id="rId44"/>
    <p:sldLayoutId id="2147484381" r:id="rId45"/>
    <p:sldLayoutId id="2147484382" r:id="rId46"/>
    <p:sldLayoutId id="2147484383" r:id="rId47"/>
    <p:sldLayoutId id="2147484384" r:id="rId48"/>
    <p:sldLayoutId id="2147484385" r:id="rId49"/>
    <p:sldLayoutId id="2147484386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" name="Google Shape;1016;g2e2e69b1e76_1_54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7" name="Google Shape;1017;g2e2e69b1e76_1_54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6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8" name="Google Shape;1018;g2e2e69b1e76_1_54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9" name="Google Shape;1019;g2e2e69b1e76_1_54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20" name="Google Shape;1020;g2e2e69b1e76_1_54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003" r:id="rId1"/>
    <p:sldLayoutId id="2147485004" r:id="rId2"/>
    <p:sldLayoutId id="2147485005" r:id="rId3"/>
    <p:sldLayoutId id="2147485006" r:id="rId4"/>
    <p:sldLayoutId id="2147484992" r:id="rId5"/>
    <p:sldLayoutId id="2147484993" r:id="rId6"/>
    <p:sldLayoutId id="2147484994" r:id="rId7"/>
    <p:sldLayoutId id="2147484995" r:id="rId8"/>
    <p:sldLayoutId id="2147484996" r:id="rId9"/>
    <p:sldLayoutId id="2147484997" r:id="rId10"/>
    <p:sldLayoutId id="2147484998" r:id="rId11"/>
    <p:sldLayoutId id="2147484999" r:id="rId12"/>
    <p:sldLayoutId id="2147485000" r:id="rId13"/>
    <p:sldLayoutId id="2147485001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  <p:sldLayoutId id="2147483778" r:id="rId34"/>
    <p:sldLayoutId id="2147483779" r:id="rId35"/>
    <p:sldLayoutId id="2147483780" r:id="rId36"/>
    <p:sldLayoutId id="2147483781" r:id="rId37"/>
    <p:sldLayoutId id="2147483782" r:id="rId38"/>
    <p:sldLayoutId id="2147483783" r:id="rId39"/>
    <p:sldLayoutId id="2147483784" r:id="rId40"/>
    <p:sldLayoutId id="2147483785" r:id="rId41"/>
    <p:sldLayoutId id="2147483786" r:id="rId42"/>
    <p:sldLayoutId id="2147483787" r:id="rId43"/>
    <p:sldLayoutId id="2147483788" r:id="rId44"/>
    <p:sldLayoutId id="2147483789" r:id="rId45"/>
    <p:sldLayoutId id="214748379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2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008" r:id="rId1"/>
    <p:sldLayoutId id="2147485009" r:id="rId2"/>
    <p:sldLayoutId id="2147485010" r:id="rId3"/>
    <p:sldLayoutId id="2147485011" r:id="rId4"/>
    <p:sldLayoutId id="2147485012" r:id="rId5"/>
    <p:sldLayoutId id="2147485013" r:id="rId6"/>
    <p:sldLayoutId id="2147485014" r:id="rId7"/>
    <p:sldLayoutId id="2147485015" r:id="rId8"/>
    <p:sldLayoutId id="2147485016" r:id="rId9"/>
    <p:sldLayoutId id="2147485017" r:id="rId10"/>
    <p:sldLayoutId id="2147484978" r:id="rId11"/>
    <p:sldLayoutId id="2147484208" r:id="rId12"/>
    <p:sldLayoutId id="2147484209" r:id="rId13"/>
    <p:sldLayoutId id="2147484210" r:id="rId14"/>
    <p:sldLayoutId id="2147484211" r:id="rId15"/>
    <p:sldLayoutId id="2147484212" r:id="rId16"/>
    <p:sldLayoutId id="2147484213" r:id="rId17"/>
    <p:sldLayoutId id="2147484214" r:id="rId18"/>
    <p:sldLayoutId id="2147484215" r:id="rId19"/>
    <p:sldLayoutId id="2147484216" r:id="rId20"/>
    <p:sldLayoutId id="2147484217" r:id="rId21"/>
    <p:sldLayoutId id="2147484218" r:id="rId22"/>
    <p:sldLayoutId id="2147484219" r:id="rId23"/>
    <p:sldLayoutId id="2147484220" r:id="rId24"/>
    <p:sldLayoutId id="2147484221" r:id="rId25"/>
    <p:sldLayoutId id="2147484222" r:id="rId26"/>
    <p:sldLayoutId id="2147484223" r:id="rId27"/>
    <p:sldLayoutId id="2147484224" r:id="rId28"/>
    <p:sldLayoutId id="2147484225" r:id="rId29"/>
    <p:sldLayoutId id="2147484226" r:id="rId30"/>
    <p:sldLayoutId id="2147484227" r:id="rId31"/>
    <p:sldLayoutId id="2147484228" r:id="rId32"/>
    <p:sldLayoutId id="2147484229" r:id="rId33"/>
    <p:sldLayoutId id="2147484230" r:id="rId34"/>
    <p:sldLayoutId id="2147484231" r:id="rId35"/>
    <p:sldLayoutId id="2147484232" r:id="rId36"/>
    <p:sldLayoutId id="2147484233" r:id="rId37"/>
    <p:sldLayoutId id="2147484234" r:id="rId38"/>
    <p:sldLayoutId id="2147484235" r:id="rId39"/>
    <p:sldLayoutId id="2147484236" r:id="rId40"/>
    <p:sldLayoutId id="2147484237" r:id="rId41"/>
    <p:sldLayoutId id="2147484238" r:id="rId42"/>
    <p:sldLayoutId id="2147484239" r:id="rId43"/>
    <p:sldLayoutId id="2147484240" r:id="rId44"/>
    <p:sldLayoutId id="2147484241" r:id="rId45"/>
    <p:sldLayoutId id="2147484242" r:id="rId46"/>
    <p:sldLayoutId id="2147484243" r:id="rId47"/>
    <p:sldLayoutId id="2147484178" r:id="rId48"/>
    <p:sldLayoutId id="2147484180" r:id="rId49"/>
    <p:sldLayoutId id="2147484206" r:id="rId50"/>
    <p:sldLayoutId id="2147484207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7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6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A8A8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700161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4.sv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203.xml"/><Relationship Id="rId1" Type="http://schemas.openxmlformats.org/officeDocument/2006/relationships/tags" Target="../tags/tag1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4" Type="http://schemas.openxmlformats.org/officeDocument/2006/relationships/image" Target="../media/image52.jpe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6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5.xml"/><Relationship Id="rId4" Type="http://schemas.openxmlformats.org/officeDocument/2006/relationships/image" Target="../media/image7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2.xml"/><Relationship Id="rId5" Type="http://schemas.openxmlformats.org/officeDocument/2006/relationships/hyperlink" Target="https://future.nhs.uk/connect.ti/EPRSupportHub" TargetMode="External"/><Relationship Id="rId4" Type="http://schemas.openxmlformats.org/officeDocument/2006/relationships/hyperlink" Target="mailto:england.fdsupporthubteam@nhs.ne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499A9-ADAE-F54A-B49E-F294E7BCE9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850" y="2116693"/>
            <a:ext cx="5272503" cy="2507695"/>
          </a:xfrm>
        </p:spPr>
        <p:txBody>
          <a:bodyPr/>
          <a:lstStyle/>
          <a:p>
            <a:r>
              <a:rPr lang="en-GB" sz="4800"/>
              <a:t>Frontline Digitisation Support Offer</a:t>
            </a:r>
            <a:br>
              <a:rPr lang="en-GB" sz="4800"/>
            </a:br>
            <a:endParaRPr lang="en-GB" sz="4800"/>
          </a:p>
          <a:p>
            <a:endParaRPr lang="en-GB" sz="6000">
              <a:cs typeface="Arial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B96998-8BA0-CF4D-B57F-DEBCAD1141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850" y="3247575"/>
            <a:ext cx="7973051" cy="1024967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GB" sz="2400" b="1">
                <a:solidFill>
                  <a:srgbClr val="006AB4"/>
                </a:solidFill>
                <a:cs typeface="Arial"/>
              </a:rPr>
              <a:t>Collaboration, Knowledge, Expertise</a:t>
            </a:r>
          </a:p>
          <a:p>
            <a:endParaRPr lang="en-GB" sz="2400" b="1">
              <a:solidFill>
                <a:srgbClr val="006AB4"/>
              </a:solidFill>
              <a:cs typeface="Arial"/>
            </a:endParaRPr>
          </a:p>
          <a:p>
            <a:endParaRPr lang="en" sz="3100">
              <a:solidFill>
                <a:srgbClr val="003087"/>
              </a:solidFill>
              <a:cs typeface="Arial"/>
            </a:endParaRPr>
          </a:p>
          <a:p>
            <a:endParaRPr lang="en-GB" sz="2400" b="1">
              <a:solidFill>
                <a:srgbClr val="006AB4"/>
              </a:solidFill>
              <a:cs typeface="Arial"/>
            </a:endParaRPr>
          </a:p>
          <a:p>
            <a:endParaRPr lang="en-GB" sz="2400" b="1">
              <a:solidFill>
                <a:srgbClr val="006AB4"/>
              </a:solidFill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AB7D16-0FC7-C451-B43C-E12313F3DCE9}"/>
              </a:ext>
            </a:extLst>
          </p:cNvPr>
          <p:cNvSpPr txBox="1"/>
          <p:nvPr/>
        </p:nvSpPr>
        <p:spPr>
          <a:xfrm>
            <a:off x="374850" y="5561102"/>
            <a:ext cx="626681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" sz="2800" b="1" dirty="0">
                <a:solidFill>
                  <a:srgbClr val="003087"/>
                </a:solidFill>
                <a:latin typeface="Arial" panose="020B0604020202020204"/>
                <a:cs typeface="Arial"/>
              </a:rPr>
              <a:t>Digital Health Summer School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E73E7A-105B-B985-00C0-15D3F758E4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388" y="6084322"/>
            <a:ext cx="6259513" cy="48895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GB" b="1">
                <a:solidFill>
                  <a:srgbClr val="006AB4"/>
                </a:solidFill>
                <a:cs typeface="Arial"/>
              </a:rPr>
              <a:t>18-19 July 2024</a:t>
            </a:r>
          </a:p>
        </p:txBody>
      </p:sp>
    </p:spTree>
    <p:extLst>
      <p:ext uri="{BB962C8B-B14F-4D97-AF65-F5344CB8AC3E}">
        <p14:creationId xmlns:p14="http://schemas.microsoft.com/office/powerpoint/2010/main" val="103765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17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up 75">
            <a:extLst>
              <a:ext uri="{FF2B5EF4-FFF2-40B4-BE49-F238E27FC236}">
                <a16:creationId xmlns:a16="http://schemas.microsoft.com/office/drawing/2014/main" id="{AEBAEA2E-6A5D-9178-F2BD-811CBD7BB0DA}"/>
              </a:ext>
            </a:extLst>
          </p:cNvPr>
          <p:cNvGrpSpPr/>
          <p:nvPr/>
        </p:nvGrpSpPr>
        <p:grpSpPr>
          <a:xfrm>
            <a:off x="4979429" y="474689"/>
            <a:ext cx="7029082" cy="5822636"/>
            <a:chOff x="3048102" y="940987"/>
            <a:chExt cx="7029082" cy="5822636"/>
          </a:xfrm>
        </p:grpSpPr>
        <p:grpSp>
          <p:nvGrpSpPr>
            <p:cNvPr id="7" name="Google Shape;537;p59">
              <a:extLst>
                <a:ext uri="{FF2B5EF4-FFF2-40B4-BE49-F238E27FC236}">
                  <a16:creationId xmlns:a16="http://schemas.microsoft.com/office/drawing/2014/main" id="{2BD1C575-613E-480D-73D3-40BE9A029DFB}"/>
                </a:ext>
              </a:extLst>
            </p:cNvPr>
            <p:cNvGrpSpPr/>
            <p:nvPr/>
          </p:nvGrpSpPr>
          <p:grpSpPr>
            <a:xfrm>
              <a:off x="3434230" y="1220029"/>
              <a:ext cx="6141510" cy="5043218"/>
              <a:chOff x="2857649" y="1683545"/>
              <a:chExt cx="5287963" cy="5289551"/>
            </a:xfrm>
          </p:grpSpPr>
          <p:sp>
            <p:nvSpPr>
              <p:cNvPr id="67" name="Google Shape;538;p59">
                <a:extLst>
                  <a:ext uri="{FF2B5EF4-FFF2-40B4-BE49-F238E27FC236}">
                    <a16:creationId xmlns:a16="http://schemas.microsoft.com/office/drawing/2014/main" id="{82D6ED84-1754-5ECE-F134-4469512BBF86}"/>
                  </a:ext>
                </a:extLst>
              </p:cNvPr>
              <p:cNvSpPr/>
              <p:nvPr/>
            </p:nvSpPr>
            <p:spPr>
              <a:xfrm>
                <a:off x="3271986" y="3371058"/>
                <a:ext cx="1412875" cy="3473450"/>
              </a:xfrm>
              <a:custGeom>
                <a:avLst/>
                <a:gdLst/>
                <a:ahLst/>
                <a:cxnLst/>
                <a:rect l="l" t="t" r="r" b="b"/>
                <a:pathLst>
                  <a:path w="890" h="2188" extrusionOk="0">
                    <a:moveTo>
                      <a:pt x="867" y="0"/>
                    </a:moveTo>
                    <a:lnTo>
                      <a:pt x="589" y="481"/>
                    </a:lnTo>
                    <a:lnTo>
                      <a:pt x="686" y="1028"/>
                    </a:lnTo>
                    <a:lnTo>
                      <a:pt x="686" y="1028"/>
                    </a:lnTo>
                    <a:lnTo>
                      <a:pt x="890" y="2188"/>
                    </a:lnTo>
                    <a:lnTo>
                      <a:pt x="890" y="2188"/>
                    </a:lnTo>
                    <a:lnTo>
                      <a:pt x="853" y="2175"/>
                    </a:lnTo>
                    <a:lnTo>
                      <a:pt x="816" y="2162"/>
                    </a:lnTo>
                    <a:lnTo>
                      <a:pt x="780" y="2147"/>
                    </a:lnTo>
                    <a:lnTo>
                      <a:pt x="743" y="2132"/>
                    </a:lnTo>
                    <a:lnTo>
                      <a:pt x="708" y="2116"/>
                    </a:lnTo>
                    <a:lnTo>
                      <a:pt x="671" y="2099"/>
                    </a:lnTo>
                    <a:lnTo>
                      <a:pt x="636" y="2081"/>
                    </a:lnTo>
                    <a:lnTo>
                      <a:pt x="601" y="2063"/>
                    </a:lnTo>
                    <a:lnTo>
                      <a:pt x="566" y="2043"/>
                    </a:lnTo>
                    <a:lnTo>
                      <a:pt x="532" y="2022"/>
                    </a:lnTo>
                    <a:lnTo>
                      <a:pt x="498" y="2001"/>
                    </a:lnTo>
                    <a:lnTo>
                      <a:pt x="464" y="1978"/>
                    </a:lnTo>
                    <a:lnTo>
                      <a:pt x="431" y="1954"/>
                    </a:lnTo>
                    <a:lnTo>
                      <a:pt x="398" y="1931"/>
                    </a:lnTo>
                    <a:lnTo>
                      <a:pt x="366" y="1906"/>
                    </a:lnTo>
                    <a:lnTo>
                      <a:pt x="333" y="1880"/>
                    </a:lnTo>
                    <a:lnTo>
                      <a:pt x="333" y="1880"/>
                    </a:lnTo>
                    <a:lnTo>
                      <a:pt x="285" y="1837"/>
                    </a:lnTo>
                    <a:lnTo>
                      <a:pt x="238" y="1792"/>
                    </a:lnTo>
                    <a:lnTo>
                      <a:pt x="193" y="1746"/>
                    </a:lnTo>
                    <a:lnTo>
                      <a:pt x="150" y="1699"/>
                    </a:lnTo>
                    <a:lnTo>
                      <a:pt x="110" y="1652"/>
                    </a:lnTo>
                    <a:lnTo>
                      <a:pt x="72" y="1603"/>
                    </a:lnTo>
                    <a:lnTo>
                      <a:pt x="35" y="1552"/>
                    </a:lnTo>
                    <a:lnTo>
                      <a:pt x="0" y="1501"/>
                    </a:lnTo>
                    <a:lnTo>
                      <a:pt x="867" y="0"/>
                    </a:lnTo>
                    <a:lnTo>
                      <a:pt x="867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539;p59">
                <a:extLst>
                  <a:ext uri="{FF2B5EF4-FFF2-40B4-BE49-F238E27FC236}">
                    <a16:creationId xmlns:a16="http://schemas.microsoft.com/office/drawing/2014/main" id="{E760F000-4929-EFDE-1E62-28EF97B30506}"/>
                  </a:ext>
                </a:extLst>
              </p:cNvPr>
              <p:cNvSpPr/>
              <p:nvPr/>
            </p:nvSpPr>
            <p:spPr>
              <a:xfrm>
                <a:off x="2875111" y="2412208"/>
                <a:ext cx="2600325" cy="1603375"/>
              </a:xfrm>
              <a:custGeom>
                <a:avLst/>
                <a:gdLst/>
                <a:ahLst/>
                <a:cxnLst/>
                <a:rect l="l" t="t" r="r" b="b"/>
                <a:pathLst>
                  <a:path w="1638" h="1010" extrusionOk="0">
                    <a:moveTo>
                      <a:pt x="1117" y="604"/>
                    </a:moveTo>
                    <a:lnTo>
                      <a:pt x="1117" y="604"/>
                    </a:lnTo>
                    <a:lnTo>
                      <a:pt x="0" y="1010"/>
                    </a:lnTo>
                    <a:lnTo>
                      <a:pt x="0" y="1010"/>
                    </a:lnTo>
                    <a:lnTo>
                      <a:pt x="8" y="951"/>
                    </a:lnTo>
                    <a:lnTo>
                      <a:pt x="17" y="894"/>
                    </a:lnTo>
                    <a:lnTo>
                      <a:pt x="31" y="836"/>
                    </a:lnTo>
                    <a:lnTo>
                      <a:pt x="44" y="779"/>
                    </a:lnTo>
                    <a:lnTo>
                      <a:pt x="61" y="721"/>
                    </a:lnTo>
                    <a:lnTo>
                      <a:pt x="79" y="664"/>
                    </a:lnTo>
                    <a:lnTo>
                      <a:pt x="100" y="609"/>
                    </a:lnTo>
                    <a:lnTo>
                      <a:pt x="122" y="553"/>
                    </a:lnTo>
                    <a:lnTo>
                      <a:pt x="147" y="498"/>
                    </a:lnTo>
                    <a:lnTo>
                      <a:pt x="173" y="443"/>
                    </a:lnTo>
                    <a:lnTo>
                      <a:pt x="202" y="390"/>
                    </a:lnTo>
                    <a:lnTo>
                      <a:pt x="233" y="337"/>
                    </a:lnTo>
                    <a:lnTo>
                      <a:pt x="266" y="285"/>
                    </a:lnTo>
                    <a:lnTo>
                      <a:pt x="301" y="234"/>
                    </a:lnTo>
                    <a:lnTo>
                      <a:pt x="339" y="185"/>
                    </a:lnTo>
                    <a:lnTo>
                      <a:pt x="378" y="136"/>
                    </a:lnTo>
                    <a:lnTo>
                      <a:pt x="378" y="136"/>
                    </a:lnTo>
                    <a:lnTo>
                      <a:pt x="409" y="101"/>
                    </a:lnTo>
                    <a:lnTo>
                      <a:pt x="441" y="66"/>
                    </a:lnTo>
                    <a:lnTo>
                      <a:pt x="472" y="33"/>
                    </a:lnTo>
                    <a:lnTo>
                      <a:pt x="505" y="0"/>
                    </a:lnTo>
                    <a:lnTo>
                      <a:pt x="1638" y="413"/>
                    </a:lnTo>
                    <a:lnTo>
                      <a:pt x="1117" y="604"/>
                    </a:lnTo>
                    <a:close/>
                  </a:path>
                </a:pathLst>
              </a:custGeom>
              <a:solidFill>
                <a:srgbClr val="03A49A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540;p59">
                <a:extLst>
                  <a:ext uri="{FF2B5EF4-FFF2-40B4-BE49-F238E27FC236}">
                    <a16:creationId xmlns:a16="http://schemas.microsoft.com/office/drawing/2014/main" id="{8DF6D545-A992-ABD9-C724-14231F7B1372}"/>
                  </a:ext>
                </a:extLst>
              </p:cNvPr>
              <p:cNvSpPr/>
              <p:nvPr/>
            </p:nvSpPr>
            <p:spPr>
              <a:xfrm>
                <a:off x="3676799" y="1688308"/>
                <a:ext cx="2628900" cy="1682750"/>
              </a:xfrm>
              <a:custGeom>
                <a:avLst/>
                <a:gdLst/>
                <a:ahLst/>
                <a:cxnLst/>
                <a:rect l="l" t="t" r="r" b="b"/>
                <a:pathLst>
                  <a:path w="1656" h="1060" extrusionOk="0">
                    <a:moveTo>
                      <a:pt x="1656" y="1060"/>
                    </a:moveTo>
                    <a:lnTo>
                      <a:pt x="1133" y="869"/>
                    </a:lnTo>
                    <a:lnTo>
                      <a:pt x="0" y="456"/>
                    </a:lnTo>
                    <a:lnTo>
                      <a:pt x="0" y="456"/>
                    </a:lnTo>
                    <a:lnTo>
                      <a:pt x="27" y="432"/>
                    </a:lnTo>
                    <a:lnTo>
                      <a:pt x="56" y="407"/>
                    </a:lnTo>
                    <a:lnTo>
                      <a:pt x="83" y="382"/>
                    </a:lnTo>
                    <a:lnTo>
                      <a:pt x="113" y="358"/>
                    </a:lnTo>
                    <a:lnTo>
                      <a:pt x="142" y="336"/>
                    </a:lnTo>
                    <a:lnTo>
                      <a:pt x="172" y="314"/>
                    </a:lnTo>
                    <a:lnTo>
                      <a:pt x="202" y="292"/>
                    </a:lnTo>
                    <a:lnTo>
                      <a:pt x="232" y="272"/>
                    </a:lnTo>
                    <a:lnTo>
                      <a:pt x="264" y="251"/>
                    </a:lnTo>
                    <a:lnTo>
                      <a:pt x="295" y="233"/>
                    </a:lnTo>
                    <a:lnTo>
                      <a:pt x="326" y="215"/>
                    </a:lnTo>
                    <a:lnTo>
                      <a:pt x="358" y="196"/>
                    </a:lnTo>
                    <a:lnTo>
                      <a:pt x="390" y="179"/>
                    </a:lnTo>
                    <a:lnTo>
                      <a:pt x="423" y="164"/>
                    </a:lnTo>
                    <a:lnTo>
                      <a:pt x="456" y="148"/>
                    </a:lnTo>
                    <a:lnTo>
                      <a:pt x="488" y="134"/>
                    </a:lnTo>
                    <a:lnTo>
                      <a:pt x="522" y="119"/>
                    </a:lnTo>
                    <a:lnTo>
                      <a:pt x="555" y="106"/>
                    </a:lnTo>
                    <a:lnTo>
                      <a:pt x="623" y="81"/>
                    </a:lnTo>
                    <a:lnTo>
                      <a:pt x="692" y="61"/>
                    </a:lnTo>
                    <a:lnTo>
                      <a:pt x="761" y="42"/>
                    </a:lnTo>
                    <a:lnTo>
                      <a:pt x="830" y="28"/>
                    </a:lnTo>
                    <a:lnTo>
                      <a:pt x="902" y="15"/>
                    </a:lnTo>
                    <a:lnTo>
                      <a:pt x="973" y="6"/>
                    </a:lnTo>
                    <a:lnTo>
                      <a:pt x="1043" y="0"/>
                    </a:lnTo>
                    <a:lnTo>
                      <a:pt x="1656" y="1060"/>
                    </a:lnTo>
                    <a:lnTo>
                      <a:pt x="1656" y="1060"/>
                    </a:lnTo>
                    <a:close/>
                  </a:path>
                </a:pathLst>
              </a:custGeom>
              <a:solidFill>
                <a:schemeClr val="accent6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541;p59">
                <a:extLst>
                  <a:ext uri="{FF2B5EF4-FFF2-40B4-BE49-F238E27FC236}">
                    <a16:creationId xmlns:a16="http://schemas.microsoft.com/office/drawing/2014/main" id="{F2206EE1-6AB9-3867-3DA0-5A917A0C1A1A}"/>
                  </a:ext>
                </a:extLst>
              </p:cNvPr>
              <p:cNvSpPr/>
              <p:nvPr/>
            </p:nvSpPr>
            <p:spPr>
              <a:xfrm>
                <a:off x="5332561" y="1683545"/>
                <a:ext cx="1752600" cy="2451100"/>
              </a:xfrm>
              <a:custGeom>
                <a:avLst/>
                <a:gdLst/>
                <a:ahLst/>
                <a:cxnLst/>
                <a:rect l="l" t="t" r="r" b="b"/>
                <a:pathLst>
                  <a:path w="1104" h="1544" extrusionOk="0">
                    <a:moveTo>
                      <a:pt x="890" y="1544"/>
                    </a:moveTo>
                    <a:lnTo>
                      <a:pt x="890" y="1544"/>
                    </a:lnTo>
                    <a:lnTo>
                      <a:pt x="840" y="1456"/>
                    </a:lnTo>
                    <a:lnTo>
                      <a:pt x="613" y="1063"/>
                    </a:lnTo>
                    <a:lnTo>
                      <a:pt x="613" y="1063"/>
                    </a:lnTo>
                    <a:lnTo>
                      <a:pt x="613" y="106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74" y="0"/>
                    </a:lnTo>
                    <a:lnTo>
                      <a:pt x="145" y="0"/>
                    </a:lnTo>
                    <a:lnTo>
                      <a:pt x="217" y="3"/>
                    </a:lnTo>
                    <a:lnTo>
                      <a:pt x="289" y="10"/>
                    </a:lnTo>
                    <a:lnTo>
                      <a:pt x="324" y="14"/>
                    </a:lnTo>
                    <a:lnTo>
                      <a:pt x="361" y="19"/>
                    </a:lnTo>
                    <a:lnTo>
                      <a:pt x="396" y="24"/>
                    </a:lnTo>
                    <a:lnTo>
                      <a:pt x="431" y="32"/>
                    </a:lnTo>
                    <a:lnTo>
                      <a:pt x="468" y="39"/>
                    </a:lnTo>
                    <a:lnTo>
                      <a:pt x="503" y="48"/>
                    </a:lnTo>
                    <a:lnTo>
                      <a:pt x="539" y="56"/>
                    </a:lnTo>
                    <a:lnTo>
                      <a:pt x="574" y="66"/>
                    </a:lnTo>
                    <a:lnTo>
                      <a:pt x="608" y="77"/>
                    </a:lnTo>
                    <a:lnTo>
                      <a:pt x="643" y="88"/>
                    </a:lnTo>
                    <a:lnTo>
                      <a:pt x="678" y="100"/>
                    </a:lnTo>
                    <a:lnTo>
                      <a:pt x="712" y="113"/>
                    </a:lnTo>
                    <a:lnTo>
                      <a:pt x="746" y="128"/>
                    </a:lnTo>
                    <a:lnTo>
                      <a:pt x="780" y="142"/>
                    </a:lnTo>
                    <a:lnTo>
                      <a:pt x="814" y="158"/>
                    </a:lnTo>
                    <a:lnTo>
                      <a:pt x="847" y="173"/>
                    </a:lnTo>
                    <a:lnTo>
                      <a:pt x="881" y="190"/>
                    </a:lnTo>
                    <a:lnTo>
                      <a:pt x="913" y="209"/>
                    </a:lnTo>
                    <a:lnTo>
                      <a:pt x="946" y="227"/>
                    </a:lnTo>
                    <a:lnTo>
                      <a:pt x="979" y="246"/>
                    </a:lnTo>
                    <a:lnTo>
                      <a:pt x="1010" y="266"/>
                    </a:lnTo>
                    <a:lnTo>
                      <a:pt x="1041" y="287"/>
                    </a:lnTo>
                    <a:lnTo>
                      <a:pt x="1073" y="309"/>
                    </a:lnTo>
                    <a:lnTo>
                      <a:pt x="1104" y="331"/>
                    </a:lnTo>
                    <a:lnTo>
                      <a:pt x="890" y="1544"/>
                    </a:lnTo>
                    <a:lnTo>
                      <a:pt x="890" y="1544"/>
                    </a:lnTo>
                    <a:close/>
                  </a:path>
                </a:pathLst>
              </a:custGeom>
              <a:solidFill>
                <a:srgbClr val="005EB8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542;p59">
                <a:extLst>
                  <a:ext uri="{FF2B5EF4-FFF2-40B4-BE49-F238E27FC236}">
                    <a16:creationId xmlns:a16="http://schemas.microsoft.com/office/drawing/2014/main" id="{DB3F46A0-E8E3-398E-392C-F34B6689D4F8}"/>
                  </a:ext>
                </a:extLst>
              </p:cNvPr>
              <p:cNvSpPr/>
              <p:nvPr/>
            </p:nvSpPr>
            <p:spPr>
              <a:xfrm>
                <a:off x="4361011" y="5003008"/>
                <a:ext cx="2122488" cy="1970088"/>
              </a:xfrm>
              <a:custGeom>
                <a:avLst/>
                <a:gdLst/>
                <a:ahLst/>
                <a:cxnLst/>
                <a:rect l="l" t="t" r="r" b="b"/>
                <a:pathLst>
                  <a:path w="1337" h="1241" extrusionOk="0">
                    <a:moveTo>
                      <a:pt x="426" y="357"/>
                    </a:moveTo>
                    <a:lnTo>
                      <a:pt x="426" y="357"/>
                    </a:lnTo>
                    <a:lnTo>
                      <a:pt x="1337" y="1122"/>
                    </a:lnTo>
                    <a:lnTo>
                      <a:pt x="1337" y="1122"/>
                    </a:lnTo>
                    <a:lnTo>
                      <a:pt x="1303" y="1135"/>
                    </a:lnTo>
                    <a:lnTo>
                      <a:pt x="1269" y="1147"/>
                    </a:lnTo>
                    <a:lnTo>
                      <a:pt x="1235" y="1159"/>
                    </a:lnTo>
                    <a:lnTo>
                      <a:pt x="1200" y="1169"/>
                    </a:lnTo>
                    <a:lnTo>
                      <a:pt x="1131" y="1189"/>
                    </a:lnTo>
                    <a:lnTo>
                      <a:pt x="1060" y="1206"/>
                    </a:lnTo>
                    <a:lnTo>
                      <a:pt x="990" y="1219"/>
                    </a:lnTo>
                    <a:lnTo>
                      <a:pt x="918" y="1229"/>
                    </a:lnTo>
                    <a:lnTo>
                      <a:pt x="846" y="1236"/>
                    </a:lnTo>
                    <a:lnTo>
                      <a:pt x="774" y="1240"/>
                    </a:lnTo>
                    <a:lnTo>
                      <a:pt x="702" y="1241"/>
                    </a:lnTo>
                    <a:lnTo>
                      <a:pt x="631" y="1238"/>
                    </a:lnTo>
                    <a:lnTo>
                      <a:pt x="559" y="1233"/>
                    </a:lnTo>
                    <a:lnTo>
                      <a:pt x="487" y="1225"/>
                    </a:lnTo>
                    <a:lnTo>
                      <a:pt x="452" y="1220"/>
                    </a:lnTo>
                    <a:lnTo>
                      <a:pt x="415" y="1214"/>
                    </a:lnTo>
                    <a:lnTo>
                      <a:pt x="380" y="1206"/>
                    </a:lnTo>
                    <a:lnTo>
                      <a:pt x="345" y="1199"/>
                    </a:lnTo>
                    <a:lnTo>
                      <a:pt x="309" y="1190"/>
                    </a:lnTo>
                    <a:lnTo>
                      <a:pt x="274" y="1181"/>
                    </a:lnTo>
                    <a:lnTo>
                      <a:pt x="239" y="1170"/>
                    </a:lnTo>
                    <a:lnTo>
                      <a:pt x="204" y="1160"/>
                    </a:lnTo>
                    <a:lnTo>
                      <a:pt x="0" y="0"/>
                    </a:lnTo>
                    <a:lnTo>
                      <a:pt x="426" y="357"/>
                    </a:lnTo>
                    <a:close/>
                  </a:path>
                </a:pathLst>
              </a:custGeom>
              <a:solidFill>
                <a:srgbClr val="00A499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543;p59">
                <a:extLst>
                  <a:ext uri="{FF2B5EF4-FFF2-40B4-BE49-F238E27FC236}">
                    <a16:creationId xmlns:a16="http://schemas.microsoft.com/office/drawing/2014/main" id="{393CDFBB-7712-DAE7-1B87-17EAB860233C}"/>
                  </a:ext>
                </a:extLst>
              </p:cNvPr>
              <p:cNvSpPr/>
              <p:nvPr/>
            </p:nvSpPr>
            <p:spPr>
              <a:xfrm>
                <a:off x="2857649" y="3371058"/>
                <a:ext cx="1790700" cy="2382838"/>
              </a:xfrm>
              <a:custGeom>
                <a:avLst/>
                <a:gdLst/>
                <a:ahLst/>
                <a:cxnLst/>
                <a:rect l="l" t="t" r="r" b="b"/>
                <a:pathLst>
                  <a:path w="1128" h="1501" extrusionOk="0">
                    <a:moveTo>
                      <a:pt x="11" y="406"/>
                    </a:moveTo>
                    <a:lnTo>
                      <a:pt x="1128" y="0"/>
                    </a:lnTo>
                    <a:lnTo>
                      <a:pt x="261" y="1501"/>
                    </a:lnTo>
                    <a:lnTo>
                      <a:pt x="261" y="1501"/>
                    </a:lnTo>
                    <a:lnTo>
                      <a:pt x="243" y="1469"/>
                    </a:lnTo>
                    <a:lnTo>
                      <a:pt x="223" y="1438"/>
                    </a:lnTo>
                    <a:lnTo>
                      <a:pt x="206" y="1407"/>
                    </a:lnTo>
                    <a:lnTo>
                      <a:pt x="189" y="1374"/>
                    </a:lnTo>
                    <a:lnTo>
                      <a:pt x="172" y="1343"/>
                    </a:lnTo>
                    <a:lnTo>
                      <a:pt x="156" y="1310"/>
                    </a:lnTo>
                    <a:lnTo>
                      <a:pt x="128" y="1245"/>
                    </a:lnTo>
                    <a:lnTo>
                      <a:pt x="102" y="1177"/>
                    </a:lnTo>
                    <a:lnTo>
                      <a:pt x="78" y="1110"/>
                    </a:lnTo>
                    <a:lnTo>
                      <a:pt x="58" y="1041"/>
                    </a:lnTo>
                    <a:lnTo>
                      <a:pt x="42" y="972"/>
                    </a:lnTo>
                    <a:lnTo>
                      <a:pt x="27" y="903"/>
                    </a:lnTo>
                    <a:lnTo>
                      <a:pt x="15" y="832"/>
                    </a:lnTo>
                    <a:lnTo>
                      <a:pt x="8" y="761"/>
                    </a:lnTo>
                    <a:lnTo>
                      <a:pt x="2" y="691"/>
                    </a:lnTo>
                    <a:lnTo>
                      <a:pt x="0" y="619"/>
                    </a:lnTo>
                    <a:lnTo>
                      <a:pt x="1" y="549"/>
                    </a:lnTo>
                    <a:lnTo>
                      <a:pt x="4" y="477"/>
                    </a:lnTo>
                    <a:lnTo>
                      <a:pt x="11" y="406"/>
                    </a:lnTo>
                    <a:lnTo>
                      <a:pt x="11" y="406"/>
                    </a:lnTo>
                    <a:close/>
                  </a:path>
                </a:pathLst>
              </a:custGeom>
              <a:solidFill>
                <a:schemeClr val="dk2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544;p59">
                <a:extLst>
                  <a:ext uri="{FF2B5EF4-FFF2-40B4-BE49-F238E27FC236}">
                    <a16:creationId xmlns:a16="http://schemas.microsoft.com/office/drawing/2014/main" id="{0DA9A646-9C2F-A3C0-C572-8D20829412B7}"/>
                  </a:ext>
                </a:extLst>
              </p:cNvPr>
              <p:cNvSpPr/>
              <p:nvPr/>
            </p:nvSpPr>
            <p:spPr>
              <a:xfrm>
                <a:off x="5037286" y="5569745"/>
                <a:ext cx="2800350" cy="1214437"/>
              </a:xfrm>
              <a:custGeom>
                <a:avLst/>
                <a:gdLst/>
                <a:ahLst/>
                <a:cxnLst/>
                <a:rect l="l" t="t" r="r" b="b"/>
                <a:pathLst>
                  <a:path w="1764" h="765" extrusionOk="0">
                    <a:moveTo>
                      <a:pt x="555" y="0"/>
                    </a:moveTo>
                    <a:lnTo>
                      <a:pt x="555" y="0"/>
                    </a:lnTo>
                    <a:lnTo>
                      <a:pt x="1764" y="0"/>
                    </a:lnTo>
                    <a:lnTo>
                      <a:pt x="1764" y="0"/>
                    </a:lnTo>
                    <a:lnTo>
                      <a:pt x="1743" y="37"/>
                    </a:lnTo>
                    <a:lnTo>
                      <a:pt x="1721" y="74"/>
                    </a:lnTo>
                    <a:lnTo>
                      <a:pt x="1699" y="112"/>
                    </a:lnTo>
                    <a:lnTo>
                      <a:pt x="1674" y="148"/>
                    </a:lnTo>
                    <a:lnTo>
                      <a:pt x="1649" y="184"/>
                    </a:lnTo>
                    <a:lnTo>
                      <a:pt x="1623" y="219"/>
                    </a:lnTo>
                    <a:lnTo>
                      <a:pt x="1597" y="254"/>
                    </a:lnTo>
                    <a:lnTo>
                      <a:pt x="1568" y="288"/>
                    </a:lnTo>
                    <a:lnTo>
                      <a:pt x="1568" y="288"/>
                    </a:lnTo>
                    <a:lnTo>
                      <a:pt x="1533" y="329"/>
                    </a:lnTo>
                    <a:lnTo>
                      <a:pt x="1498" y="368"/>
                    </a:lnTo>
                    <a:lnTo>
                      <a:pt x="1461" y="406"/>
                    </a:lnTo>
                    <a:lnTo>
                      <a:pt x="1423" y="441"/>
                    </a:lnTo>
                    <a:lnTo>
                      <a:pt x="1384" y="476"/>
                    </a:lnTo>
                    <a:lnTo>
                      <a:pt x="1345" y="509"/>
                    </a:lnTo>
                    <a:lnTo>
                      <a:pt x="1304" y="542"/>
                    </a:lnTo>
                    <a:lnTo>
                      <a:pt x="1264" y="572"/>
                    </a:lnTo>
                    <a:lnTo>
                      <a:pt x="1222" y="600"/>
                    </a:lnTo>
                    <a:lnTo>
                      <a:pt x="1179" y="628"/>
                    </a:lnTo>
                    <a:lnTo>
                      <a:pt x="1136" y="655"/>
                    </a:lnTo>
                    <a:lnTo>
                      <a:pt x="1093" y="680"/>
                    </a:lnTo>
                    <a:lnTo>
                      <a:pt x="1048" y="704"/>
                    </a:lnTo>
                    <a:lnTo>
                      <a:pt x="1003" y="725"/>
                    </a:lnTo>
                    <a:lnTo>
                      <a:pt x="957" y="745"/>
                    </a:lnTo>
                    <a:lnTo>
                      <a:pt x="911" y="765"/>
                    </a:lnTo>
                    <a:lnTo>
                      <a:pt x="0" y="0"/>
                    </a:lnTo>
                    <a:lnTo>
                      <a:pt x="555" y="0"/>
                    </a:lnTo>
                    <a:close/>
                  </a:path>
                </a:pathLst>
              </a:custGeom>
              <a:solidFill>
                <a:srgbClr val="005EB8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545;p59">
                <a:extLst>
                  <a:ext uri="{FF2B5EF4-FFF2-40B4-BE49-F238E27FC236}">
                    <a16:creationId xmlns:a16="http://schemas.microsoft.com/office/drawing/2014/main" id="{1BA7DAF2-0BD5-47D9-F0C7-B1B804C61DBF}"/>
                  </a:ext>
                </a:extLst>
              </p:cNvPr>
              <p:cNvSpPr/>
              <p:nvPr/>
            </p:nvSpPr>
            <p:spPr>
              <a:xfrm>
                <a:off x="6591449" y="2209008"/>
                <a:ext cx="1490663" cy="2794000"/>
              </a:xfrm>
              <a:custGeom>
                <a:avLst/>
                <a:gdLst/>
                <a:ahLst/>
                <a:cxnLst/>
                <a:rect l="l" t="t" r="r" b="b"/>
                <a:pathLst>
                  <a:path w="939" h="1760" extrusionOk="0">
                    <a:moveTo>
                      <a:pt x="97" y="1213"/>
                    </a:moveTo>
                    <a:lnTo>
                      <a:pt x="97" y="1213"/>
                    </a:lnTo>
                    <a:lnTo>
                      <a:pt x="97" y="1213"/>
                    </a:lnTo>
                    <a:lnTo>
                      <a:pt x="311" y="0"/>
                    </a:lnTo>
                    <a:lnTo>
                      <a:pt x="311" y="0"/>
                    </a:lnTo>
                    <a:lnTo>
                      <a:pt x="348" y="29"/>
                    </a:lnTo>
                    <a:lnTo>
                      <a:pt x="384" y="59"/>
                    </a:lnTo>
                    <a:lnTo>
                      <a:pt x="384" y="59"/>
                    </a:lnTo>
                    <a:lnTo>
                      <a:pt x="438" y="105"/>
                    </a:lnTo>
                    <a:lnTo>
                      <a:pt x="489" y="155"/>
                    </a:lnTo>
                    <a:lnTo>
                      <a:pt x="537" y="204"/>
                    </a:lnTo>
                    <a:lnTo>
                      <a:pt x="583" y="256"/>
                    </a:lnTo>
                    <a:lnTo>
                      <a:pt x="627" y="310"/>
                    </a:lnTo>
                    <a:lnTo>
                      <a:pt x="668" y="365"/>
                    </a:lnTo>
                    <a:lnTo>
                      <a:pt x="707" y="420"/>
                    </a:lnTo>
                    <a:lnTo>
                      <a:pt x="742" y="477"/>
                    </a:lnTo>
                    <a:lnTo>
                      <a:pt x="776" y="536"/>
                    </a:lnTo>
                    <a:lnTo>
                      <a:pt x="808" y="596"/>
                    </a:lnTo>
                    <a:lnTo>
                      <a:pt x="835" y="656"/>
                    </a:lnTo>
                    <a:lnTo>
                      <a:pt x="861" y="718"/>
                    </a:lnTo>
                    <a:lnTo>
                      <a:pt x="885" y="780"/>
                    </a:lnTo>
                    <a:lnTo>
                      <a:pt x="905" y="844"/>
                    </a:lnTo>
                    <a:lnTo>
                      <a:pt x="924" y="908"/>
                    </a:lnTo>
                    <a:lnTo>
                      <a:pt x="939" y="972"/>
                    </a:lnTo>
                    <a:lnTo>
                      <a:pt x="0" y="1760"/>
                    </a:lnTo>
                    <a:lnTo>
                      <a:pt x="97" y="1213"/>
                    </a:lnTo>
                    <a:close/>
                  </a:path>
                </a:pathLst>
              </a:custGeom>
              <a:solidFill>
                <a:srgbClr val="00A499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546;p59">
                <a:extLst>
                  <a:ext uri="{FF2B5EF4-FFF2-40B4-BE49-F238E27FC236}">
                    <a16:creationId xmlns:a16="http://schemas.microsoft.com/office/drawing/2014/main" id="{0B35905D-77B3-8DB7-96A8-C028803DFD42}"/>
                  </a:ext>
                </a:extLst>
              </p:cNvPr>
              <p:cNvSpPr/>
              <p:nvPr/>
            </p:nvSpPr>
            <p:spPr>
              <a:xfrm>
                <a:off x="5918349" y="3752058"/>
                <a:ext cx="2227263" cy="1817688"/>
              </a:xfrm>
              <a:custGeom>
                <a:avLst/>
                <a:gdLst/>
                <a:ahLst/>
                <a:cxnLst/>
                <a:rect l="l" t="t" r="r" b="b"/>
                <a:pathLst>
                  <a:path w="1403" h="1145" extrusionOk="0">
                    <a:moveTo>
                      <a:pt x="424" y="788"/>
                    </a:moveTo>
                    <a:lnTo>
                      <a:pt x="424" y="788"/>
                    </a:lnTo>
                    <a:lnTo>
                      <a:pt x="424" y="788"/>
                    </a:lnTo>
                    <a:lnTo>
                      <a:pt x="424" y="788"/>
                    </a:lnTo>
                    <a:lnTo>
                      <a:pt x="424" y="788"/>
                    </a:lnTo>
                    <a:lnTo>
                      <a:pt x="1363" y="0"/>
                    </a:lnTo>
                    <a:lnTo>
                      <a:pt x="1363" y="0"/>
                    </a:lnTo>
                    <a:lnTo>
                      <a:pt x="1371" y="36"/>
                    </a:lnTo>
                    <a:lnTo>
                      <a:pt x="1378" y="72"/>
                    </a:lnTo>
                    <a:lnTo>
                      <a:pt x="1383" y="107"/>
                    </a:lnTo>
                    <a:lnTo>
                      <a:pt x="1388" y="144"/>
                    </a:lnTo>
                    <a:lnTo>
                      <a:pt x="1393" y="181"/>
                    </a:lnTo>
                    <a:lnTo>
                      <a:pt x="1397" y="217"/>
                    </a:lnTo>
                    <a:lnTo>
                      <a:pt x="1400" y="252"/>
                    </a:lnTo>
                    <a:lnTo>
                      <a:pt x="1401" y="289"/>
                    </a:lnTo>
                    <a:lnTo>
                      <a:pt x="1403" y="326"/>
                    </a:lnTo>
                    <a:lnTo>
                      <a:pt x="1403" y="362"/>
                    </a:lnTo>
                    <a:lnTo>
                      <a:pt x="1403" y="399"/>
                    </a:lnTo>
                    <a:lnTo>
                      <a:pt x="1401" y="435"/>
                    </a:lnTo>
                    <a:lnTo>
                      <a:pt x="1400" y="472"/>
                    </a:lnTo>
                    <a:lnTo>
                      <a:pt x="1397" y="508"/>
                    </a:lnTo>
                    <a:lnTo>
                      <a:pt x="1393" y="545"/>
                    </a:lnTo>
                    <a:lnTo>
                      <a:pt x="1390" y="582"/>
                    </a:lnTo>
                    <a:lnTo>
                      <a:pt x="1384" y="618"/>
                    </a:lnTo>
                    <a:lnTo>
                      <a:pt x="1378" y="653"/>
                    </a:lnTo>
                    <a:lnTo>
                      <a:pt x="1371" y="690"/>
                    </a:lnTo>
                    <a:lnTo>
                      <a:pt x="1363" y="727"/>
                    </a:lnTo>
                    <a:lnTo>
                      <a:pt x="1356" y="762"/>
                    </a:lnTo>
                    <a:lnTo>
                      <a:pt x="1346" y="798"/>
                    </a:lnTo>
                    <a:lnTo>
                      <a:pt x="1336" y="834"/>
                    </a:lnTo>
                    <a:lnTo>
                      <a:pt x="1326" y="869"/>
                    </a:lnTo>
                    <a:lnTo>
                      <a:pt x="1314" y="904"/>
                    </a:lnTo>
                    <a:lnTo>
                      <a:pt x="1301" y="939"/>
                    </a:lnTo>
                    <a:lnTo>
                      <a:pt x="1288" y="973"/>
                    </a:lnTo>
                    <a:lnTo>
                      <a:pt x="1273" y="1009"/>
                    </a:lnTo>
                    <a:lnTo>
                      <a:pt x="1259" y="1043"/>
                    </a:lnTo>
                    <a:lnTo>
                      <a:pt x="1243" y="1077"/>
                    </a:lnTo>
                    <a:lnTo>
                      <a:pt x="1226" y="1111"/>
                    </a:lnTo>
                    <a:lnTo>
                      <a:pt x="1209" y="1145"/>
                    </a:lnTo>
                    <a:lnTo>
                      <a:pt x="0" y="1145"/>
                    </a:lnTo>
                    <a:lnTo>
                      <a:pt x="424" y="788"/>
                    </a:lnTo>
                    <a:close/>
                  </a:path>
                </a:pathLst>
              </a:custGeom>
              <a:solidFill>
                <a:schemeClr val="accent6"/>
              </a:solidFill>
              <a:ln w="12700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8" name="Google Shape;547;p59">
              <a:extLst>
                <a:ext uri="{FF2B5EF4-FFF2-40B4-BE49-F238E27FC236}">
                  <a16:creationId xmlns:a16="http://schemas.microsoft.com/office/drawing/2014/main" id="{518D1729-9AA2-3484-D613-1215365607D2}"/>
                </a:ext>
              </a:extLst>
            </p:cNvPr>
            <p:cNvSpPr/>
            <p:nvPr/>
          </p:nvSpPr>
          <p:spPr>
            <a:xfrm>
              <a:off x="5268435" y="1211343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548;p59">
              <a:extLst>
                <a:ext uri="{FF2B5EF4-FFF2-40B4-BE49-F238E27FC236}">
                  <a16:creationId xmlns:a16="http://schemas.microsoft.com/office/drawing/2014/main" id="{1CD846E7-A778-FF2B-2FBE-795B81156F3A}"/>
                </a:ext>
              </a:extLst>
            </p:cNvPr>
            <p:cNvSpPr/>
            <p:nvPr/>
          </p:nvSpPr>
          <p:spPr>
            <a:xfrm>
              <a:off x="9067151" y="2285820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549;p59">
              <a:extLst>
                <a:ext uri="{FF2B5EF4-FFF2-40B4-BE49-F238E27FC236}">
                  <a16:creationId xmlns:a16="http://schemas.microsoft.com/office/drawing/2014/main" id="{6E5B2A52-2D5F-2345-D995-2C111744F41B}"/>
                </a:ext>
              </a:extLst>
            </p:cNvPr>
            <p:cNvSpPr/>
            <p:nvPr/>
          </p:nvSpPr>
          <p:spPr>
            <a:xfrm>
              <a:off x="7406045" y="1199984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550;p59">
              <a:extLst>
                <a:ext uri="{FF2B5EF4-FFF2-40B4-BE49-F238E27FC236}">
                  <a16:creationId xmlns:a16="http://schemas.microsoft.com/office/drawing/2014/main" id="{84502D4E-D123-044F-2C68-036DF332E961}"/>
                </a:ext>
              </a:extLst>
            </p:cNvPr>
            <p:cNvSpPr/>
            <p:nvPr/>
          </p:nvSpPr>
          <p:spPr>
            <a:xfrm>
              <a:off x="9429281" y="3995473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4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551;p59">
              <a:extLst>
                <a:ext uri="{FF2B5EF4-FFF2-40B4-BE49-F238E27FC236}">
                  <a16:creationId xmlns:a16="http://schemas.microsoft.com/office/drawing/2014/main" id="{878273BD-9F3F-0D4C-565B-AD379BBB5508}"/>
                </a:ext>
              </a:extLst>
            </p:cNvPr>
            <p:cNvSpPr/>
            <p:nvPr/>
          </p:nvSpPr>
          <p:spPr>
            <a:xfrm>
              <a:off x="8515133" y="5406598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5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552;p59">
              <a:extLst>
                <a:ext uri="{FF2B5EF4-FFF2-40B4-BE49-F238E27FC236}">
                  <a16:creationId xmlns:a16="http://schemas.microsoft.com/office/drawing/2014/main" id="{A80CC00B-3468-C7E6-628F-36964A7FC562}"/>
                </a:ext>
              </a:extLst>
            </p:cNvPr>
            <p:cNvSpPr/>
            <p:nvPr/>
          </p:nvSpPr>
          <p:spPr>
            <a:xfrm>
              <a:off x="6483758" y="6050258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6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553;p59">
              <a:extLst>
                <a:ext uri="{FF2B5EF4-FFF2-40B4-BE49-F238E27FC236}">
                  <a16:creationId xmlns:a16="http://schemas.microsoft.com/office/drawing/2014/main" id="{5A7D3D29-5809-C56C-D866-546A92DD0D9E}"/>
                </a:ext>
              </a:extLst>
            </p:cNvPr>
            <p:cNvSpPr/>
            <p:nvPr/>
          </p:nvSpPr>
          <p:spPr>
            <a:xfrm>
              <a:off x="4466217" y="5470979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7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554;p59">
              <a:extLst>
                <a:ext uri="{FF2B5EF4-FFF2-40B4-BE49-F238E27FC236}">
                  <a16:creationId xmlns:a16="http://schemas.microsoft.com/office/drawing/2014/main" id="{E081B75B-6CF1-AB84-8AC8-119E7DF1A607}"/>
                </a:ext>
              </a:extLst>
            </p:cNvPr>
            <p:cNvSpPr/>
            <p:nvPr/>
          </p:nvSpPr>
          <p:spPr>
            <a:xfrm>
              <a:off x="3440405" y="4128621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8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555;p59">
              <a:extLst>
                <a:ext uri="{FF2B5EF4-FFF2-40B4-BE49-F238E27FC236}">
                  <a16:creationId xmlns:a16="http://schemas.microsoft.com/office/drawing/2014/main" id="{D12C2310-5A79-3CDE-31B4-A6DE02CE2C8C}"/>
                </a:ext>
              </a:extLst>
            </p:cNvPr>
            <p:cNvSpPr/>
            <p:nvPr/>
          </p:nvSpPr>
          <p:spPr>
            <a:xfrm>
              <a:off x="3720541" y="2412750"/>
              <a:ext cx="226497" cy="4016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9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556;p59">
              <a:extLst>
                <a:ext uri="{FF2B5EF4-FFF2-40B4-BE49-F238E27FC236}">
                  <a16:creationId xmlns:a16="http://schemas.microsoft.com/office/drawing/2014/main" id="{CEC7AC80-408A-625F-CDA1-9C7A1AC144B5}"/>
                </a:ext>
              </a:extLst>
            </p:cNvPr>
            <p:cNvSpPr/>
            <p:nvPr/>
          </p:nvSpPr>
          <p:spPr>
            <a:xfrm>
              <a:off x="5572486" y="3110131"/>
              <a:ext cx="1890000" cy="3689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2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Frontline Digitisation Support Offer (FDSO)</a:t>
              </a:r>
              <a:endParaRPr kumimoji="0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557;p59">
              <a:extLst>
                <a:ext uri="{FF2B5EF4-FFF2-40B4-BE49-F238E27FC236}">
                  <a16:creationId xmlns:a16="http://schemas.microsoft.com/office/drawing/2014/main" id="{875CE0BC-2BCF-3D87-E97E-D49A312C82FE}"/>
                </a:ext>
              </a:extLst>
            </p:cNvPr>
            <p:cNvSpPr/>
            <p:nvPr/>
          </p:nvSpPr>
          <p:spPr>
            <a:xfrm>
              <a:off x="5606429" y="5437610"/>
              <a:ext cx="1154779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Benefits</a:t>
              </a:r>
              <a:endParaRPr kumimoji="0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7" name="Google Shape;558;p59">
              <a:extLst>
                <a:ext uri="{FF2B5EF4-FFF2-40B4-BE49-F238E27FC236}">
                  <a16:creationId xmlns:a16="http://schemas.microsoft.com/office/drawing/2014/main" id="{5A42AD63-AEB6-7F67-3255-4D8D9006B8DE}"/>
                </a:ext>
              </a:extLst>
            </p:cNvPr>
            <p:cNvSpPr/>
            <p:nvPr/>
          </p:nvSpPr>
          <p:spPr>
            <a:xfrm>
              <a:off x="4158833" y="4733406"/>
              <a:ext cx="1081535" cy="4692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defRPr/>
              </a:pPr>
              <a:r>
                <a:rPr lang="en" sz="1450" b="1" dirty="0">
                  <a:solidFill>
                    <a:srgbClr val="FFFFFF"/>
                  </a:solidFill>
                </a:rPr>
                <a:t>Value Assurance</a:t>
              </a:r>
              <a:endParaRPr kumimoji="0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8" name="Google Shape;559;p59">
              <a:extLst>
                <a:ext uri="{FF2B5EF4-FFF2-40B4-BE49-F238E27FC236}">
                  <a16:creationId xmlns:a16="http://schemas.microsoft.com/office/drawing/2014/main" id="{6FFBD25F-ADCA-1C04-9E9C-EAEADE1271F1}"/>
                </a:ext>
              </a:extLst>
            </p:cNvPr>
            <p:cNvSpPr/>
            <p:nvPr/>
          </p:nvSpPr>
          <p:spPr>
            <a:xfrm>
              <a:off x="3557351" y="3452559"/>
              <a:ext cx="1130497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Business Case Review</a:t>
              </a:r>
              <a:endParaRPr kumimoji="0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9" name="Google Shape;560;p59">
              <a:extLst>
                <a:ext uri="{FF2B5EF4-FFF2-40B4-BE49-F238E27FC236}">
                  <a16:creationId xmlns:a16="http://schemas.microsoft.com/office/drawing/2014/main" id="{11DC7873-D140-505F-1603-940C1D19CEC0}"/>
                </a:ext>
              </a:extLst>
            </p:cNvPr>
            <p:cNvSpPr/>
            <p:nvPr/>
          </p:nvSpPr>
          <p:spPr>
            <a:xfrm>
              <a:off x="4305530" y="2340973"/>
              <a:ext cx="1130497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igital Maturity</a:t>
              </a:r>
              <a:endParaRPr kumimoji="0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0" name="Google Shape;561;p59">
              <a:extLst>
                <a:ext uri="{FF2B5EF4-FFF2-40B4-BE49-F238E27FC236}">
                  <a16:creationId xmlns:a16="http://schemas.microsoft.com/office/drawing/2014/main" id="{4B939A91-3687-2A39-38EB-909FCF09411E}"/>
                </a:ext>
              </a:extLst>
            </p:cNvPr>
            <p:cNvSpPr/>
            <p:nvPr/>
          </p:nvSpPr>
          <p:spPr>
            <a:xfrm>
              <a:off x="5343220" y="1697591"/>
              <a:ext cx="1302460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Blueprinting</a:t>
              </a:r>
              <a:endParaRPr kumimoji="0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1" name="Google Shape;562;p59">
              <a:extLst>
                <a:ext uri="{FF2B5EF4-FFF2-40B4-BE49-F238E27FC236}">
                  <a16:creationId xmlns:a16="http://schemas.microsoft.com/office/drawing/2014/main" id="{B060BDB4-409A-0F35-1974-0740261982ED}"/>
                </a:ext>
              </a:extLst>
            </p:cNvPr>
            <p:cNvSpPr/>
            <p:nvPr/>
          </p:nvSpPr>
          <p:spPr>
            <a:xfrm>
              <a:off x="7065297" y="1756065"/>
              <a:ext cx="1130497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Funding &amp; Allocations</a:t>
              </a:r>
              <a:endParaRPr kumimoji="0" sz="14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2" name="Google Shape;563;p59">
              <a:extLst>
                <a:ext uri="{FF2B5EF4-FFF2-40B4-BE49-F238E27FC236}">
                  <a16:creationId xmlns:a16="http://schemas.microsoft.com/office/drawing/2014/main" id="{B9182BB5-519C-36C2-C727-B81B11665DDD}"/>
                </a:ext>
              </a:extLst>
            </p:cNvPr>
            <p:cNvSpPr/>
            <p:nvPr/>
          </p:nvSpPr>
          <p:spPr>
            <a:xfrm>
              <a:off x="8138927" y="2822200"/>
              <a:ext cx="1130497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FD Partnering</a:t>
              </a:r>
              <a:r>
                <a:rPr kumimoji="0" lang="en" sz="9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 </a:t>
              </a:r>
              <a:endParaRPr kumimoji="0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3" name="Google Shape;564;p59">
              <a:extLst>
                <a:ext uri="{FF2B5EF4-FFF2-40B4-BE49-F238E27FC236}">
                  <a16:creationId xmlns:a16="http://schemas.microsoft.com/office/drawing/2014/main" id="{5886CFE7-7AF7-93A2-605F-F72D09294E09}"/>
                </a:ext>
              </a:extLst>
            </p:cNvPr>
            <p:cNvSpPr/>
            <p:nvPr/>
          </p:nvSpPr>
          <p:spPr>
            <a:xfrm>
              <a:off x="7941631" y="4170099"/>
              <a:ext cx="1302460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Market Management</a:t>
              </a:r>
              <a:endParaRPr kumimoji="0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4" name="Google Shape;565;p59">
              <a:extLst>
                <a:ext uri="{FF2B5EF4-FFF2-40B4-BE49-F238E27FC236}">
                  <a16:creationId xmlns:a16="http://schemas.microsoft.com/office/drawing/2014/main" id="{35FB2D05-8733-8EF6-FCB8-FC06E235A75E}"/>
                </a:ext>
              </a:extLst>
            </p:cNvPr>
            <p:cNvSpPr/>
            <p:nvPr/>
          </p:nvSpPr>
          <p:spPr>
            <a:xfrm>
              <a:off x="6772540" y="5038064"/>
              <a:ext cx="1528556" cy="6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" sz="13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trategic Supplier Relationship Management</a:t>
              </a:r>
              <a:endParaRPr kumimoji="0" sz="22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5" name="Google Shape;566;p59">
              <a:extLst>
                <a:ext uri="{FF2B5EF4-FFF2-40B4-BE49-F238E27FC236}">
                  <a16:creationId xmlns:a16="http://schemas.microsoft.com/office/drawing/2014/main" id="{06A6FA4B-E9C3-D9F1-05AE-10835ED83E2C}"/>
                </a:ext>
              </a:extLst>
            </p:cNvPr>
            <p:cNvSpPr/>
            <p:nvPr/>
          </p:nvSpPr>
          <p:spPr>
            <a:xfrm>
              <a:off x="4998233" y="1142790"/>
              <a:ext cx="536489" cy="350434"/>
            </a:xfrm>
            <a:custGeom>
              <a:avLst/>
              <a:gdLst/>
              <a:ahLst/>
              <a:cxnLst/>
              <a:rect l="l" t="t" r="r" b="b"/>
              <a:pathLst>
                <a:path w="197714" h="157319" extrusionOk="0">
                  <a:moveTo>
                    <a:pt x="197036" y="452"/>
                  </a:moveTo>
                  <a:cubicBezTo>
                    <a:pt x="196616" y="76"/>
                    <a:pt x="196043" y="-78"/>
                    <a:pt x="195491" y="38"/>
                  </a:cubicBezTo>
                  <a:lnTo>
                    <a:pt x="131169" y="10928"/>
                  </a:lnTo>
                  <a:lnTo>
                    <a:pt x="66847" y="38"/>
                  </a:lnTo>
                  <a:cubicBezTo>
                    <a:pt x="66735" y="19"/>
                    <a:pt x="66620" y="19"/>
                    <a:pt x="66508" y="38"/>
                  </a:cubicBezTo>
                  <a:cubicBezTo>
                    <a:pt x="66408" y="18"/>
                    <a:pt x="66306" y="18"/>
                    <a:pt x="66206" y="38"/>
                  </a:cubicBezTo>
                  <a:lnTo>
                    <a:pt x="1545" y="11003"/>
                  </a:lnTo>
                  <a:cubicBezTo>
                    <a:pt x="645" y="11152"/>
                    <a:pt x="-12" y="11937"/>
                    <a:pt x="0" y="12849"/>
                  </a:cubicBezTo>
                  <a:lnTo>
                    <a:pt x="0" y="155435"/>
                  </a:lnTo>
                  <a:cubicBezTo>
                    <a:pt x="-10" y="155984"/>
                    <a:pt x="225" y="156509"/>
                    <a:pt x="641" y="156867"/>
                  </a:cubicBezTo>
                  <a:cubicBezTo>
                    <a:pt x="990" y="157158"/>
                    <a:pt x="1430" y="157318"/>
                    <a:pt x="1884" y="157319"/>
                  </a:cubicBezTo>
                  <a:lnTo>
                    <a:pt x="2186" y="157319"/>
                  </a:lnTo>
                  <a:lnTo>
                    <a:pt x="66546" y="146392"/>
                  </a:lnTo>
                  <a:lnTo>
                    <a:pt x="130868" y="157319"/>
                  </a:lnTo>
                  <a:lnTo>
                    <a:pt x="131470" y="157319"/>
                  </a:lnTo>
                  <a:lnTo>
                    <a:pt x="196132" y="146316"/>
                  </a:lnTo>
                  <a:cubicBezTo>
                    <a:pt x="197039" y="146169"/>
                    <a:pt x="197708" y="145389"/>
                    <a:pt x="197714" y="144470"/>
                  </a:cubicBezTo>
                  <a:lnTo>
                    <a:pt x="197714" y="1884"/>
                  </a:lnTo>
                  <a:cubicBezTo>
                    <a:pt x="197715" y="1329"/>
                    <a:pt x="197466" y="803"/>
                    <a:pt x="197036" y="452"/>
                  </a:cubicBezTo>
                  <a:close/>
                  <a:moveTo>
                    <a:pt x="129210" y="14432"/>
                  </a:moveTo>
                  <a:lnTo>
                    <a:pt x="129210" y="40809"/>
                  </a:lnTo>
                  <a:lnTo>
                    <a:pt x="98801" y="40809"/>
                  </a:lnTo>
                  <a:cubicBezTo>
                    <a:pt x="97760" y="40809"/>
                    <a:pt x="96917" y="41652"/>
                    <a:pt x="96917" y="42693"/>
                  </a:cubicBezTo>
                  <a:lnTo>
                    <a:pt x="96917" y="91980"/>
                  </a:lnTo>
                  <a:lnTo>
                    <a:pt x="68354" y="91980"/>
                  </a:lnTo>
                  <a:lnTo>
                    <a:pt x="68354" y="3957"/>
                  </a:lnTo>
                  <a:close/>
                  <a:moveTo>
                    <a:pt x="3693" y="153099"/>
                  </a:moveTo>
                  <a:lnTo>
                    <a:pt x="3693" y="14432"/>
                  </a:lnTo>
                  <a:lnTo>
                    <a:pt x="64548" y="4107"/>
                  </a:lnTo>
                  <a:lnTo>
                    <a:pt x="64548" y="92131"/>
                  </a:lnTo>
                  <a:lnTo>
                    <a:pt x="33951" y="92131"/>
                  </a:lnTo>
                  <a:lnTo>
                    <a:pt x="33951" y="55994"/>
                  </a:lnTo>
                  <a:cubicBezTo>
                    <a:pt x="41244" y="54954"/>
                    <a:pt x="46313" y="48198"/>
                    <a:pt x="45273" y="40905"/>
                  </a:cubicBezTo>
                  <a:cubicBezTo>
                    <a:pt x="44232" y="33611"/>
                    <a:pt x="37476" y="28543"/>
                    <a:pt x="30183" y="29583"/>
                  </a:cubicBezTo>
                  <a:cubicBezTo>
                    <a:pt x="22890" y="30624"/>
                    <a:pt x="17821" y="37379"/>
                    <a:pt x="18862" y="44673"/>
                  </a:cubicBezTo>
                  <a:cubicBezTo>
                    <a:pt x="19699" y="50544"/>
                    <a:pt x="24312" y="55157"/>
                    <a:pt x="30183" y="55994"/>
                  </a:cubicBezTo>
                  <a:lnTo>
                    <a:pt x="30183" y="94015"/>
                  </a:lnTo>
                  <a:cubicBezTo>
                    <a:pt x="30183" y="95055"/>
                    <a:pt x="31027" y="95899"/>
                    <a:pt x="32067" y="95899"/>
                  </a:cubicBezTo>
                  <a:lnTo>
                    <a:pt x="64548" y="95899"/>
                  </a:lnTo>
                  <a:lnTo>
                    <a:pt x="64548" y="142888"/>
                  </a:lnTo>
                  <a:close/>
                  <a:moveTo>
                    <a:pt x="32067" y="52302"/>
                  </a:moveTo>
                  <a:cubicBezTo>
                    <a:pt x="26781" y="52302"/>
                    <a:pt x="22496" y="48016"/>
                    <a:pt x="22496" y="42730"/>
                  </a:cubicBezTo>
                  <a:cubicBezTo>
                    <a:pt x="22496" y="37444"/>
                    <a:pt x="26781" y="33159"/>
                    <a:pt x="32067" y="33159"/>
                  </a:cubicBezTo>
                  <a:cubicBezTo>
                    <a:pt x="37353" y="33159"/>
                    <a:pt x="41638" y="37444"/>
                    <a:pt x="41638" y="42730"/>
                  </a:cubicBezTo>
                  <a:cubicBezTo>
                    <a:pt x="41701" y="48016"/>
                    <a:pt x="37466" y="52351"/>
                    <a:pt x="32181" y="52414"/>
                  </a:cubicBezTo>
                  <a:cubicBezTo>
                    <a:pt x="32143" y="52414"/>
                    <a:pt x="32105" y="52414"/>
                    <a:pt x="32067" y="52414"/>
                  </a:cubicBezTo>
                  <a:close/>
                  <a:moveTo>
                    <a:pt x="68354" y="95786"/>
                  </a:moveTo>
                  <a:lnTo>
                    <a:pt x="98499" y="95786"/>
                  </a:lnTo>
                  <a:cubicBezTo>
                    <a:pt x="99540" y="95786"/>
                    <a:pt x="100383" y="94942"/>
                    <a:pt x="100383" y="93902"/>
                  </a:cubicBezTo>
                  <a:lnTo>
                    <a:pt x="100383" y="44614"/>
                  </a:lnTo>
                  <a:lnTo>
                    <a:pt x="129210" y="44614"/>
                  </a:lnTo>
                  <a:lnTo>
                    <a:pt x="129210" y="153099"/>
                  </a:lnTo>
                  <a:lnTo>
                    <a:pt x="68354" y="142774"/>
                  </a:lnTo>
                  <a:close/>
                  <a:moveTo>
                    <a:pt x="193871" y="142774"/>
                  </a:moveTo>
                  <a:lnTo>
                    <a:pt x="132978" y="153099"/>
                  </a:lnTo>
                  <a:lnTo>
                    <a:pt x="132978" y="44614"/>
                  </a:lnTo>
                  <a:lnTo>
                    <a:pt x="158149" y="44614"/>
                  </a:lnTo>
                  <a:lnTo>
                    <a:pt x="158149" y="104113"/>
                  </a:lnTo>
                  <a:cubicBezTo>
                    <a:pt x="158169" y="105146"/>
                    <a:pt x="159001" y="105977"/>
                    <a:pt x="160033" y="105997"/>
                  </a:cubicBezTo>
                  <a:cubicBezTo>
                    <a:pt x="161073" y="105997"/>
                    <a:pt x="161917" y="105154"/>
                    <a:pt x="161917" y="104113"/>
                  </a:cubicBezTo>
                  <a:lnTo>
                    <a:pt x="161917" y="42693"/>
                  </a:lnTo>
                  <a:cubicBezTo>
                    <a:pt x="161917" y="41652"/>
                    <a:pt x="161073" y="40809"/>
                    <a:pt x="160033" y="40809"/>
                  </a:cubicBezTo>
                  <a:lnTo>
                    <a:pt x="132978" y="40809"/>
                  </a:lnTo>
                  <a:lnTo>
                    <a:pt x="132978" y="14432"/>
                  </a:lnTo>
                  <a:lnTo>
                    <a:pt x="193871" y="4107"/>
                  </a:lnTo>
                  <a:close/>
                  <a:moveTo>
                    <a:pt x="159958" y="119412"/>
                  </a:moveTo>
                  <a:lnTo>
                    <a:pt x="166326" y="113044"/>
                  </a:lnTo>
                  <a:cubicBezTo>
                    <a:pt x="167058" y="112326"/>
                    <a:pt x="168231" y="112326"/>
                    <a:pt x="168963" y="113044"/>
                  </a:cubicBezTo>
                  <a:cubicBezTo>
                    <a:pt x="169702" y="113777"/>
                    <a:pt x="169707" y="114969"/>
                    <a:pt x="168974" y="115709"/>
                  </a:cubicBezTo>
                  <a:cubicBezTo>
                    <a:pt x="168971" y="115712"/>
                    <a:pt x="168967" y="115716"/>
                    <a:pt x="168963" y="115720"/>
                  </a:cubicBezTo>
                  <a:lnTo>
                    <a:pt x="162633" y="122050"/>
                  </a:lnTo>
                  <a:lnTo>
                    <a:pt x="168963" y="128418"/>
                  </a:lnTo>
                  <a:cubicBezTo>
                    <a:pt x="169692" y="129101"/>
                    <a:pt x="169728" y="130246"/>
                    <a:pt x="169044" y="130974"/>
                  </a:cubicBezTo>
                  <a:cubicBezTo>
                    <a:pt x="169018" y="131002"/>
                    <a:pt x="168991" y="131029"/>
                    <a:pt x="168963" y="131055"/>
                  </a:cubicBezTo>
                  <a:cubicBezTo>
                    <a:pt x="168280" y="131784"/>
                    <a:pt x="167135" y="131820"/>
                    <a:pt x="166407" y="131136"/>
                  </a:cubicBezTo>
                  <a:cubicBezTo>
                    <a:pt x="166379" y="131110"/>
                    <a:pt x="166352" y="131083"/>
                    <a:pt x="166326" y="131055"/>
                  </a:cubicBezTo>
                  <a:lnTo>
                    <a:pt x="159958" y="124725"/>
                  </a:lnTo>
                  <a:lnTo>
                    <a:pt x="153627" y="131056"/>
                  </a:lnTo>
                  <a:cubicBezTo>
                    <a:pt x="153279" y="131411"/>
                    <a:pt x="152805" y="131614"/>
                    <a:pt x="152308" y="131621"/>
                  </a:cubicBezTo>
                  <a:cubicBezTo>
                    <a:pt x="151799" y="131620"/>
                    <a:pt x="151311" y="131416"/>
                    <a:pt x="150952" y="131056"/>
                  </a:cubicBezTo>
                  <a:cubicBezTo>
                    <a:pt x="150234" y="130323"/>
                    <a:pt x="150234" y="129150"/>
                    <a:pt x="150952" y="128418"/>
                  </a:cubicBezTo>
                  <a:lnTo>
                    <a:pt x="157320" y="122050"/>
                  </a:lnTo>
                  <a:lnTo>
                    <a:pt x="150952" y="115719"/>
                  </a:lnTo>
                  <a:cubicBezTo>
                    <a:pt x="150213" y="114980"/>
                    <a:pt x="150213" y="113783"/>
                    <a:pt x="150952" y="113044"/>
                  </a:cubicBezTo>
                  <a:cubicBezTo>
                    <a:pt x="151690" y="112305"/>
                    <a:pt x="152888" y="112305"/>
                    <a:pt x="153627" y="113044"/>
                  </a:cubicBezTo>
                  <a:close/>
                </a:path>
              </a:pathLst>
            </a:custGeom>
            <a:solidFill>
              <a:srgbClr val="000000"/>
            </a:solidFill>
            <a:ln w="12700" cap="flat" cmpd="sng">
              <a:solidFill>
                <a:srgbClr val="000000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567;p59">
              <a:extLst>
                <a:ext uri="{FF2B5EF4-FFF2-40B4-BE49-F238E27FC236}">
                  <a16:creationId xmlns:a16="http://schemas.microsoft.com/office/drawing/2014/main" id="{C17DD4BE-3812-3051-5475-70F3694E807E}"/>
                </a:ext>
              </a:extLst>
            </p:cNvPr>
            <p:cNvSpPr/>
            <p:nvPr/>
          </p:nvSpPr>
          <p:spPr>
            <a:xfrm>
              <a:off x="6251096" y="6029307"/>
              <a:ext cx="806669" cy="734316"/>
            </a:xfrm>
            <a:prstGeom prst="ellipse">
              <a:avLst/>
            </a:prstGeom>
            <a:solidFill>
              <a:srgbClr val="00A499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568;p59">
              <a:extLst>
                <a:ext uri="{FF2B5EF4-FFF2-40B4-BE49-F238E27FC236}">
                  <a16:creationId xmlns:a16="http://schemas.microsoft.com/office/drawing/2014/main" id="{3B44BFDC-DB29-EFF5-61FB-9B7C4B089EB7}"/>
                </a:ext>
              </a:extLst>
            </p:cNvPr>
            <p:cNvSpPr/>
            <p:nvPr/>
          </p:nvSpPr>
          <p:spPr>
            <a:xfrm>
              <a:off x="4077691" y="5388326"/>
              <a:ext cx="809490" cy="744278"/>
            </a:xfrm>
            <a:prstGeom prst="ellipse">
              <a:avLst/>
            </a:prstGeom>
            <a:solidFill>
              <a:schemeClr val="accent6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569;p59">
              <a:extLst>
                <a:ext uri="{FF2B5EF4-FFF2-40B4-BE49-F238E27FC236}">
                  <a16:creationId xmlns:a16="http://schemas.microsoft.com/office/drawing/2014/main" id="{CC772A34-4209-4134-E8FB-2412AFE0F35B}"/>
                </a:ext>
              </a:extLst>
            </p:cNvPr>
            <p:cNvSpPr/>
            <p:nvPr/>
          </p:nvSpPr>
          <p:spPr>
            <a:xfrm>
              <a:off x="3048102" y="4061669"/>
              <a:ext cx="806669" cy="734316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570;p59">
              <a:extLst>
                <a:ext uri="{FF2B5EF4-FFF2-40B4-BE49-F238E27FC236}">
                  <a16:creationId xmlns:a16="http://schemas.microsoft.com/office/drawing/2014/main" id="{30A63BED-96D9-169C-EBA5-968D134BC858}"/>
                </a:ext>
              </a:extLst>
            </p:cNvPr>
            <p:cNvSpPr/>
            <p:nvPr/>
          </p:nvSpPr>
          <p:spPr>
            <a:xfrm>
              <a:off x="3162239" y="2338634"/>
              <a:ext cx="806669" cy="745689"/>
            </a:xfrm>
            <a:prstGeom prst="ellipse">
              <a:avLst/>
            </a:prstGeom>
            <a:solidFill>
              <a:srgbClr val="03A49A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571;p59">
              <a:extLst>
                <a:ext uri="{FF2B5EF4-FFF2-40B4-BE49-F238E27FC236}">
                  <a16:creationId xmlns:a16="http://schemas.microsoft.com/office/drawing/2014/main" id="{09EA7608-1F32-39D3-63D3-489F90727B87}"/>
                </a:ext>
              </a:extLst>
            </p:cNvPr>
            <p:cNvSpPr/>
            <p:nvPr/>
          </p:nvSpPr>
          <p:spPr>
            <a:xfrm>
              <a:off x="4810010" y="941082"/>
              <a:ext cx="805474" cy="745362"/>
            </a:xfrm>
            <a:prstGeom prst="ellipse">
              <a:avLst/>
            </a:prstGeom>
            <a:solidFill>
              <a:schemeClr val="accent6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572;p59">
              <a:extLst>
                <a:ext uri="{FF2B5EF4-FFF2-40B4-BE49-F238E27FC236}">
                  <a16:creationId xmlns:a16="http://schemas.microsoft.com/office/drawing/2014/main" id="{1A8FF635-4A71-D714-CA17-843CD2198BAF}"/>
                </a:ext>
              </a:extLst>
            </p:cNvPr>
            <p:cNvSpPr/>
            <p:nvPr/>
          </p:nvSpPr>
          <p:spPr>
            <a:xfrm>
              <a:off x="7191745" y="940987"/>
              <a:ext cx="795296" cy="745689"/>
            </a:xfrm>
            <a:prstGeom prst="ellipse">
              <a:avLst/>
            </a:prstGeom>
            <a:solidFill>
              <a:srgbClr val="005EB8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573;p59">
              <a:extLst>
                <a:ext uri="{FF2B5EF4-FFF2-40B4-BE49-F238E27FC236}">
                  <a16:creationId xmlns:a16="http://schemas.microsoft.com/office/drawing/2014/main" id="{0829C173-62C2-6B60-9992-77A2B981C84E}"/>
                </a:ext>
              </a:extLst>
            </p:cNvPr>
            <p:cNvSpPr/>
            <p:nvPr/>
          </p:nvSpPr>
          <p:spPr>
            <a:xfrm>
              <a:off x="8910988" y="2208177"/>
              <a:ext cx="877728" cy="664667"/>
            </a:xfrm>
            <a:prstGeom prst="ellipse">
              <a:avLst/>
            </a:prstGeom>
            <a:solidFill>
              <a:srgbClr val="00A499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Google Shape;574;p59">
              <a:extLst>
                <a:ext uri="{FF2B5EF4-FFF2-40B4-BE49-F238E27FC236}">
                  <a16:creationId xmlns:a16="http://schemas.microsoft.com/office/drawing/2014/main" id="{07EC85A3-2384-A3DC-FA7E-83C20633B175}"/>
                </a:ext>
              </a:extLst>
            </p:cNvPr>
            <p:cNvSpPr/>
            <p:nvPr/>
          </p:nvSpPr>
          <p:spPr>
            <a:xfrm>
              <a:off x="9270515" y="3907554"/>
              <a:ext cx="806669" cy="745689"/>
            </a:xfrm>
            <a:prstGeom prst="ellipse">
              <a:avLst/>
            </a:prstGeom>
            <a:solidFill>
              <a:schemeClr val="accent6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575;p59">
              <a:extLst>
                <a:ext uri="{FF2B5EF4-FFF2-40B4-BE49-F238E27FC236}">
                  <a16:creationId xmlns:a16="http://schemas.microsoft.com/office/drawing/2014/main" id="{D3560203-C903-EF8E-988A-9C70A398900D}"/>
                </a:ext>
              </a:extLst>
            </p:cNvPr>
            <p:cNvSpPr/>
            <p:nvPr/>
          </p:nvSpPr>
          <p:spPr>
            <a:xfrm>
              <a:off x="8344702" y="5323479"/>
              <a:ext cx="806669" cy="734316"/>
            </a:xfrm>
            <a:prstGeom prst="ellipse">
              <a:avLst/>
            </a:prstGeom>
            <a:solidFill>
              <a:srgbClr val="005EB8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576;p59">
              <a:extLst>
                <a:ext uri="{FF2B5EF4-FFF2-40B4-BE49-F238E27FC236}">
                  <a16:creationId xmlns:a16="http://schemas.microsoft.com/office/drawing/2014/main" id="{4B685A1E-BF71-0C75-43C8-291FFFBE86CA}"/>
                </a:ext>
              </a:extLst>
            </p:cNvPr>
            <p:cNvSpPr/>
            <p:nvPr/>
          </p:nvSpPr>
          <p:spPr>
            <a:xfrm>
              <a:off x="4934766" y="1142790"/>
              <a:ext cx="536489" cy="350434"/>
            </a:xfrm>
            <a:custGeom>
              <a:avLst/>
              <a:gdLst/>
              <a:ahLst/>
              <a:cxnLst/>
              <a:rect l="l" t="t" r="r" b="b"/>
              <a:pathLst>
                <a:path w="197714" h="157319" extrusionOk="0">
                  <a:moveTo>
                    <a:pt x="197036" y="452"/>
                  </a:moveTo>
                  <a:cubicBezTo>
                    <a:pt x="196616" y="76"/>
                    <a:pt x="196043" y="-78"/>
                    <a:pt x="195491" y="38"/>
                  </a:cubicBezTo>
                  <a:lnTo>
                    <a:pt x="131169" y="10928"/>
                  </a:lnTo>
                  <a:lnTo>
                    <a:pt x="66847" y="38"/>
                  </a:lnTo>
                  <a:cubicBezTo>
                    <a:pt x="66735" y="19"/>
                    <a:pt x="66620" y="19"/>
                    <a:pt x="66508" y="38"/>
                  </a:cubicBezTo>
                  <a:cubicBezTo>
                    <a:pt x="66408" y="18"/>
                    <a:pt x="66306" y="18"/>
                    <a:pt x="66206" y="38"/>
                  </a:cubicBezTo>
                  <a:lnTo>
                    <a:pt x="1545" y="11003"/>
                  </a:lnTo>
                  <a:cubicBezTo>
                    <a:pt x="645" y="11152"/>
                    <a:pt x="-12" y="11937"/>
                    <a:pt x="0" y="12849"/>
                  </a:cubicBezTo>
                  <a:lnTo>
                    <a:pt x="0" y="155435"/>
                  </a:lnTo>
                  <a:cubicBezTo>
                    <a:pt x="-10" y="155984"/>
                    <a:pt x="225" y="156509"/>
                    <a:pt x="641" y="156867"/>
                  </a:cubicBezTo>
                  <a:cubicBezTo>
                    <a:pt x="990" y="157158"/>
                    <a:pt x="1430" y="157318"/>
                    <a:pt x="1884" y="157319"/>
                  </a:cubicBezTo>
                  <a:lnTo>
                    <a:pt x="2186" y="157319"/>
                  </a:lnTo>
                  <a:lnTo>
                    <a:pt x="66546" y="146392"/>
                  </a:lnTo>
                  <a:lnTo>
                    <a:pt x="130868" y="157319"/>
                  </a:lnTo>
                  <a:lnTo>
                    <a:pt x="131470" y="157319"/>
                  </a:lnTo>
                  <a:lnTo>
                    <a:pt x="196132" y="146316"/>
                  </a:lnTo>
                  <a:cubicBezTo>
                    <a:pt x="197039" y="146169"/>
                    <a:pt x="197708" y="145389"/>
                    <a:pt x="197714" y="144470"/>
                  </a:cubicBezTo>
                  <a:lnTo>
                    <a:pt x="197714" y="1884"/>
                  </a:lnTo>
                  <a:cubicBezTo>
                    <a:pt x="197715" y="1329"/>
                    <a:pt x="197466" y="803"/>
                    <a:pt x="197036" y="452"/>
                  </a:cubicBezTo>
                  <a:close/>
                  <a:moveTo>
                    <a:pt x="129210" y="14432"/>
                  </a:moveTo>
                  <a:lnTo>
                    <a:pt x="129210" y="40809"/>
                  </a:lnTo>
                  <a:lnTo>
                    <a:pt x="98801" y="40809"/>
                  </a:lnTo>
                  <a:cubicBezTo>
                    <a:pt x="97760" y="40809"/>
                    <a:pt x="96917" y="41652"/>
                    <a:pt x="96917" y="42693"/>
                  </a:cubicBezTo>
                  <a:lnTo>
                    <a:pt x="96917" y="91980"/>
                  </a:lnTo>
                  <a:lnTo>
                    <a:pt x="68354" y="91980"/>
                  </a:lnTo>
                  <a:lnTo>
                    <a:pt x="68354" y="3957"/>
                  </a:lnTo>
                  <a:close/>
                  <a:moveTo>
                    <a:pt x="3693" y="153099"/>
                  </a:moveTo>
                  <a:lnTo>
                    <a:pt x="3693" y="14432"/>
                  </a:lnTo>
                  <a:lnTo>
                    <a:pt x="64548" y="4107"/>
                  </a:lnTo>
                  <a:lnTo>
                    <a:pt x="64548" y="92131"/>
                  </a:lnTo>
                  <a:lnTo>
                    <a:pt x="33951" y="92131"/>
                  </a:lnTo>
                  <a:lnTo>
                    <a:pt x="33951" y="55994"/>
                  </a:lnTo>
                  <a:cubicBezTo>
                    <a:pt x="41244" y="54954"/>
                    <a:pt x="46313" y="48198"/>
                    <a:pt x="45273" y="40905"/>
                  </a:cubicBezTo>
                  <a:cubicBezTo>
                    <a:pt x="44232" y="33611"/>
                    <a:pt x="37476" y="28543"/>
                    <a:pt x="30183" y="29583"/>
                  </a:cubicBezTo>
                  <a:cubicBezTo>
                    <a:pt x="22890" y="30624"/>
                    <a:pt x="17821" y="37379"/>
                    <a:pt x="18862" y="44673"/>
                  </a:cubicBezTo>
                  <a:cubicBezTo>
                    <a:pt x="19699" y="50544"/>
                    <a:pt x="24312" y="55157"/>
                    <a:pt x="30183" y="55994"/>
                  </a:cubicBezTo>
                  <a:lnTo>
                    <a:pt x="30183" y="94015"/>
                  </a:lnTo>
                  <a:cubicBezTo>
                    <a:pt x="30183" y="95055"/>
                    <a:pt x="31027" y="95899"/>
                    <a:pt x="32067" y="95899"/>
                  </a:cubicBezTo>
                  <a:lnTo>
                    <a:pt x="64548" y="95899"/>
                  </a:lnTo>
                  <a:lnTo>
                    <a:pt x="64548" y="142888"/>
                  </a:lnTo>
                  <a:close/>
                  <a:moveTo>
                    <a:pt x="32067" y="52302"/>
                  </a:moveTo>
                  <a:cubicBezTo>
                    <a:pt x="26781" y="52302"/>
                    <a:pt x="22496" y="48016"/>
                    <a:pt x="22496" y="42730"/>
                  </a:cubicBezTo>
                  <a:cubicBezTo>
                    <a:pt x="22496" y="37444"/>
                    <a:pt x="26781" y="33159"/>
                    <a:pt x="32067" y="33159"/>
                  </a:cubicBezTo>
                  <a:cubicBezTo>
                    <a:pt x="37353" y="33159"/>
                    <a:pt x="41638" y="37444"/>
                    <a:pt x="41638" y="42730"/>
                  </a:cubicBezTo>
                  <a:cubicBezTo>
                    <a:pt x="41701" y="48016"/>
                    <a:pt x="37466" y="52351"/>
                    <a:pt x="32181" y="52414"/>
                  </a:cubicBezTo>
                  <a:cubicBezTo>
                    <a:pt x="32143" y="52414"/>
                    <a:pt x="32105" y="52414"/>
                    <a:pt x="32067" y="52414"/>
                  </a:cubicBezTo>
                  <a:close/>
                  <a:moveTo>
                    <a:pt x="68354" y="95786"/>
                  </a:moveTo>
                  <a:lnTo>
                    <a:pt x="98499" y="95786"/>
                  </a:lnTo>
                  <a:cubicBezTo>
                    <a:pt x="99540" y="95786"/>
                    <a:pt x="100383" y="94942"/>
                    <a:pt x="100383" y="93902"/>
                  </a:cubicBezTo>
                  <a:lnTo>
                    <a:pt x="100383" y="44614"/>
                  </a:lnTo>
                  <a:lnTo>
                    <a:pt x="129210" y="44614"/>
                  </a:lnTo>
                  <a:lnTo>
                    <a:pt x="129210" y="153099"/>
                  </a:lnTo>
                  <a:lnTo>
                    <a:pt x="68354" y="142774"/>
                  </a:lnTo>
                  <a:close/>
                  <a:moveTo>
                    <a:pt x="193871" y="142774"/>
                  </a:moveTo>
                  <a:lnTo>
                    <a:pt x="132978" y="153099"/>
                  </a:lnTo>
                  <a:lnTo>
                    <a:pt x="132978" y="44614"/>
                  </a:lnTo>
                  <a:lnTo>
                    <a:pt x="158149" y="44614"/>
                  </a:lnTo>
                  <a:lnTo>
                    <a:pt x="158149" y="104113"/>
                  </a:lnTo>
                  <a:cubicBezTo>
                    <a:pt x="158169" y="105146"/>
                    <a:pt x="159001" y="105977"/>
                    <a:pt x="160033" y="105997"/>
                  </a:cubicBezTo>
                  <a:cubicBezTo>
                    <a:pt x="161073" y="105997"/>
                    <a:pt x="161917" y="105154"/>
                    <a:pt x="161917" y="104113"/>
                  </a:cubicBezTo>
                  <a:lnTo>
                    <a:pt x="161917" y="42693"/>
                  </a:lnTo>
                  <a:cubicBezTo>
                    <a:pt x="161917" y="41652"/>
                    <a:pt x="161073" y="40809"/>
                    <a:pt x="160033" y="40809"/>
                  </a:cubicBezTo>
                  <a:lnTo>
                    <a:pt x="132978" y="40809"/>
                  </a:lnTo>
                  <a:lnTo>
                    <a:pt x="132978" y="14432"/>
                  </a:lnTo>
                  <a:lnTo>
                    <a:pt x="193871" y="4107"/>
                  </a:lnTo>
                  <a:close/>
                  <a:moveTo>
                    <a:pt x="159958" y="119412"/>
                  </a:moveTo>
                  <a:lnTo>
                    <a:pt x="166326" y="113044"/>
                  </a:lnTo>
                  <a:cubicBezTo>
                    <a:pt x="167058" y="112326"/>
                    <a:pt x="168231" y="112326"/>
                    <a:pt x="168963" y="113044"/>
                  </a:cubicBezTo>
                  <a:cubicBezTo>
                    <a:pt x="169702" y="113777"/>
                    <a:pt x="169707" y="114969"/>
                    <a:pt x="168974" y="115709"/>
                  </a:cubicBezTo>
                  <a:cubicBezTo>
                    <a:pt x="168971" y="115712"/>
                    <a:pt x="168967" y="115716"/>
                    <a:pt x="168963" y="115720"/>
                  </a:cubicBezTo>
                  <a:lnTo>
                    <a:pt x="162633" y="122050"/>
                  </a:lnTo>
                  <a:lnTo>
                    <a:pt x="168963" y="128418"/>
                  </a:lnTo>
                  <a:cubicBezTo>
                    <a:pt x="169692" y="129101"/>
                    <a:pt x="169728" y="130246"/>
                    <a:pt x="169044" y="130974"/>
                  </a:cubicBezTo>
                  <a:cubicBezTo>
                    <a:pt x="169018" y="131002"/>
                    <a:pt x="168991" y="131029"/>
                    <a:pt x="168963" y="131055"/>
                  </a:cubicBezTo>
                  <a:cubicBezTo>
                    <a:pt x="168280" y="131784"/>
                    <a:pt x="167135" y="131820"/>
                    <a:pt x="166407" y="131136"/>
                  </a:cubicBezTo>
                  <a:cubicBezTo>
                    <a:pt x="166379" y="131110"/>
                    <a:pt x="166352" y="131083"/>
                    <a:pt x="166326" y="131055"/>
                  </a:cubicBezTo>
                  <a:lnTo>
                    <a:pt x="159958" y="124725"/>
                  </a:lnTo>
                  <a:lnTo>
                    <a:pt x="153627" y="131056"/>
                  </a:lnTo>
                  <a:cubicBezTo>
                    <a:pt x="153279" y="131411"/>
                    <a:pt x="152805" y="131614"/>
                    <a:pt x="152308" y="131621"/>
                  </a:cubicBezTo>
                  <a:cubicBezTo>
                    <a:pt x="151799" y="131620"/>
                    <a:pt x="151311" y="131416"/>
                    <a:pt x="150952" y="131056"/>
                  </a:cubicBezTo>
                  <a:cubicBezTo>
                    <a:pt x="150234" y="130323"/>
                    <a:pt x="150234" y="129150"/>
                    <a:pt x="150952" y="128418"/>
                  </a:cubicBezTo>
                  <a:lnTo>
                    <a:pt x="157320" y="122050"/>
                  </a:lnTo>
                  <a:lnTo>
                    <a:pt x="150952" y="115719"/>
                  </a:lnTo>
                  <a:cubicBezTo>
                    <a:pt x="150213" y="114980"/>
                    <a:pt x="150213" y="113783"/>
                    <a:pt x="150952" y="113044"/>
                  </a:cubicBezTo>
                  <a:cubicBezTo>
                    <a:pt x="151690" y="112305"/>
                    <a:pt x="152888" y="112305"/>
                    <a:pt x="153627" y="113044"/>
                  </a:cubicBezTo>
                  <a:close/>
                </a:path>
              </a:pathLst>
            </a:custGeom>
            <a:solidFill>
              <a:schemeClr val="dk1"/>
            </a:solidFill>
            <a:ln w="12700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577;p59">
              <a:extLst>
                <a:ext uri="{FF2B5EF4-FFF2-40B4-BE49-F238E27FC236}">
                  <a16:creationId xmlns:a16="http://schemas.microsoft.com/office/drawing/2014/main" id="{0D2BF6FD-E412-3584-B321-4C8CAB6248CF}"/>
                </a:ext>
              </a:extLst>
            </p:cNvPr>
            <p:cNvSpPr/>
            <p:nvPr/>
          </p:nvSpPr>
          <p:spPr>
            <a:xfrm>
              <a:off x="7362656" y="1094248"/>
              <a:ext cx="536420" cy="401829"/>
            </a:xfrm>
            <a:custGeom>
              <a:avLst/>
              <a:gdLst/>
              <a:ahLst/>
              <a:cxnLst/>
              <a:rect l="l" t="t" r="r" b="b"/>
              <a:pathLst>
                <a:path w="312180" h="296306" extrusionOk="0">
                  <a:moveTo>
                    <a:pt x="312709" y="228579"/>
                  </a:moveTo>
                  <a:lnTo>
                    <a:pt x="293661" y="209531"/>
                  </a:lnTo>
                  <a:cubicBezTo>
                    <a:pt x="285195" y="201065"/>
                    <a:pt x="272496" y="198420"/>
                    <a:pt x="260856" y="202653"/>
                  </a:cubicBezTo>
                  <a:lnTo>
                    <a:pt x="210060" y="221701"/>
                  </a:lnTo>
                  <a:lnTo>
                    <a:pt x="194716" y="204240"/>
                  </a:lnTo>
                  <a:cubicBezTo>
                    <a:pt x="189954" y="198949"/>
                    <a:pt x="183075" y="195245"/>
                    <a:pt x="176197" y="194716"/>
                  </a:cubicBezTo>
                  <a:lnTo>
                    <a:pt x="72489" y="182546"/>
                  </a:lnTo>
                  <a:lnTo>
                    <a:pt x="73548" y="174080"/>
                  </a:lnTo>
                  <a:cubicBezTo>
                    <a:pt x="74077" y="171964"/>
                    <a:pt x="73018" y="170376"/>
                    <a:pt x="71960" y="168789"/>
                  </a:cubicBezTo>
                  <a:cubicBezTo>
                    <a:pt x="70902" y="167202"/>
                    <a:pt x="68785" y="166672"/>
                    <a:pt x="67198" y="166672"/>
                  </a:cubicBezTo>
                  <a:lnTo>
                    <a:pt x="6349" y="166672"/>
                  </a:lnTo>
                  <a:cubicBezTo>
                    <a:pt x="2646" y="166672"/>
                    <a:pt x="0" y="169318"/>
                    <a:pt x="0" y="173022"/>
                  </a:cubicBezTo>
                  <a:lnTo>
                    <a:pt x="0" y="278317"/>
                  </a:lnTo>
                  <a:cubicBezTo>
                    <a:pt x="0" y="282020"/>
                    <a:pt x="2646" y="284666"/>
                    <a:pt x="6349" y="284666"/>
                  </a:cubicBezTo>
                  <a:lnTo>
                    <a:pt x="52383" y="284666"/>
                  </a:lnTo>
                  <a:cubicBezTo>
                    <a:pt x="55557" y="284666"/>
                    <a:pt x="58203" y="282550"/>
                    <a:pt x="58732" y="279375"/>
                  </a:cubicBezTo>
                  <a:lnTo>
                    <a:pt x="59790" y="272496"/>
                  </a:lnTo>
                  <a:lnTo>
                    <a:pt x="146037" y="297365"/>
                  </a:lnTo>
                  <a:cubicBezTo>
                    <a:pt x="149212" y="298423"/>
                    <a:pt x="152915" y="298952"/>
                    <a:pt x="156090" y="298952"/>
                  </a:cubicBezTo>
                  <a:cubicBezTo>
                    <a:pt x="160852" y="298952"/>
                    <a:pt x="165614" y="297894"/>
                    <a:pt x="169847" y="296307"/>
                  </a:cubicBezTo>
                  <a:lnTo>
                    <a:pt x="310593" y="239691"/>
                  </a:lnTo>
                  <a:cubicBezTo>
                    <a:pt x="312709" y="238633"/>
                    <a:pt x="314297" y="237045"/>
                    <a:pt x="314297" y="234929"/>
                  </a:cubicBezTo>
                  <a:cubicBezTo>
                    <a:pt x="314826" y="232283"/>
                    <a:pt x="313768" y="230167"/>
                    <a:pt x="312709" y="228579"/>
                  </a:cubicBezTo>
                  <a:close/>
                  <a:moveTo>
                    <a:pt x="46033" y="271967"/>
                  </a:moveTo>
                  <a:lnTo>
                    <a:pt x="12170" y="271967"/>
                  </a:lnTo>
                  <a:lnTo>
                    <a:pt x="12170" y="179371"/>
                  </a:lnTo>
                  <a:lnTo>
                    <a:pt x="59261" y="179371"/>
                  </a:lnTo>
                  <a:lnTo>
                    <a:pt x="46033" y="271967"/>
                  </a:lnTo>
                  <a:close/>
                  <a:moveTo>
                    <a:pt x="164556" y="283608"/>
                  </a:moveTo>
                  <a:cubicBezTo>
                    <a:pt x="159794" y="285724"/>
                    <a:pt x="153974" y="285724"/>
                    <a:pt x="148682" y="284666"/>
                  </a:cubicBezTo>
                  <a:lnTo>
                    <a:pt x="60849" y="259797"/>
                  </a:lnTo>
                  <a:lnTo>
                    <a:pt x="69844" y="195774"/>
                  </a:lnTo>
                  <a:lnTo>
                    <a:pt x="174080" y="207944"/>
                  </a:lnTo>
                  <a:cubicBezTo>
                    <a:pt x="178313" y="208473"/>
                    <a:pt x="182017" y="210060"/>
                    <a:pt x="184663" y="213235"/>
                  </a:cubicBezTo>
                  <a:lnTo>
                    <a:pt x="196832" y="226992"/>
                  </a:lnTo>
                  <a:lnTo>
                    <a:pt x="165085" y="238633"/>
                  </a:lnTo>
                  <a:cubicBezTo>
                    <a:pt x="159794" y="240749"/>
                    <a:pt x="153974" y="240749"/>
                    <a:pt x="148682" y="239162"/>
                  </a:cubicBezTo>
                  <a:lnTo>
                    <a:pt x="113761" y="227521"/>
                  </a:lnTo>
                  <a:cubicBezTo>
                    <a:pt x="110586" y="226463"/>
                    <a:pt x="106882" y="228050"/>
                    <a:pt x="105824" y="231754"/>
                  </a:cubicBezTo>
                  <a:cubicBezTo>
                    <a:pt x="104766" y="234929"/>
                    <a:pt x="106353" y="238633"/>
                    <a:pt x="110057" y="239691"/>
                  </a:cubicBezTo>
                  <a:lnTo>
                    <a:pt x="144979" y="251332"/>
                  </a:lnTo>
                  <a:cubicBezTo>
                    <a:pt x="152915" y="253977"/>
                    <a:pt x="161910" y="253977"/>
                    <a:pt x="169847" y="250802"/>
                  </a:cubicBezTo>
                  <a:lnTo>
                    <a:pt x="210589" y="235458"/>
                  </a:lnTo>
                  <a:cubicBezTo>
                    <a:pt x="210589" y="235458"/>
                    <a:pt x="210589" y="235458"/>
                    <a:pt x="210589" y="235458"/>
                  </a:cubicBezTo>
                  <a:lnTo>
                    <a:pt x="265618" y="214822"/>
                  </a:lnTo>
                  <a:cubicBezTo>
                    <a:pt x="271967" y="212177"/>
                    <a:pt x="279375" y="213764"/>
                    <a:pt x="284666" y="219055"/>
                  </a:cubicBezTo>
                  <a:lnTo>
                    <a:pt x="296836" y="231225"/>
                  </a:lnTo>
                  <a:lnTo>
                    <a:pt x="164556" y="283608"/>
                  </a:lnTo>
                  <a:close/>
                  <a:moveTo>
                    <a:pt x="157148" y="164027"/>
                  </a:moveTo>
                  <a:cubicBezTo>
                    <a:pt x="202123" y="164027"/>
                    <a:pt x="239162" y="127518"/>
                    <a:pt x="239162" y="82013"/>
                  </a:cubicBezTo>
                  <a:cubicBezTo>
                    <a:pt x="239162" y="37038"/>
                    <a:pt x="202653" y="0"/>
                    <a:pt x="157148" y="0"/>
                  </a:cubicBezTo>
                  <a:cubicBezTo>
                    <a:pt x="112173" y="0"/>
                    <a:pt x="75135" y="36509"/>
                    <a:pt x="75135" y="82013"/>
                  </a:cubicBezTo>
                  <a:cubicBezTo>
                    <a:pt x="75135" y="127518"/>
                    <a:pt x="112173" y="164027"/>
                    <a:pt x="157148" y="164027"/>
                  </a:cubicBezTo>
                  <a:close/>
                  <a:moveTo>
                    <a:pt x="157148" y="13757"/>
                  </a:moveTo>
                  <a:cubicBezTo>
                    <a:pt x="195245" y="13757"/>
                    <a:pt x="225934" y="44446"/>
                    <a:pt x="225934" y="82543"/>
                  </a:cubicBezTo>
                  <a:cubicBezTo>
                    <a:pt x="225934" y="120639"/>
                    <a:pt x="195245" y="151328"/>
                    <a:pt x="157148" y="151328"/>
                  </a:cubicBezTo>
                  <a:cubicBezTo>
                    <a:pt x="119052" y="151328"/>
                    <a:pt x="88363" y="120639"/>
                    <a:pt x="88363" y="82543"/>
                  </a:cubicBezTo>
                  <a:cubicBezTo>
                    <a:pt x="88363" y="44446"/>
                    <a:pt x="119052" y="13757"/>
                    <a:pt x="157148" y="13757"/>
                  </a:cubicBezTo>
                  <a:close/>
                  <a:moveTo>
                    <a:pt x="150799" y="41271"/>
                  </a:moveTo>
                  <a:lnTo>
                    <a:pt x="150799" y="30160"/>
                  </a:lnTo>
                  <a:cubicBezTo>
                    <a:pt x="150799" y="26456"/>
                    <a:pt x="153445" y="23810"/>
                    <a:pt x="157148" y="23810"/>
                  </a:cubicBezTo>
                  <a:cubicBezTo>
                    <a:pt x="160852" y="23810"/>
                    <a:pt x="163498" y="26456"/>
                    <a:pt x="163498" y="30160"/>
                  </a:cubicBezTo>
                  <a:lnTo>
                    <a:pt x="163498" y="41271"/>
                  </a:lnTo>
                  <a:cubicBezTo>
                    <a:pt x="163498" y="44975"/>
                    <a:pt x="160852" y="47621"/>
                    <a:pt x="157148" y="47621"/>
                  </a:cubicBezTo>
                  <a:cubicBezTo>
                    <a:pt x="153445" y="47621"/>
                    <a:pt x="150799" y="44975"/>
                    <a:pt x="150799" y="41271"/>
                  </a:cubicBezTo>
                  <a:close/>
                  <a:moveTo>
                    <a:pt x="163498" y="121697"/>
                  </a:moveTo>
                  <a:lnTo>
                    <a:pt x="163498" y="132809"/>
                  </a:lnTo>
                  <a:cubicBezTo>
                    <a:pt x="163498" y="136513"/>
                    <a:pt x="160852" y="139158"/>
                    <a:pt x="157148" y="139158"/>
                  </a:cubicBezTo>
                  <a:cubicBezTo>
                    <a:pt x="153445" y="139158"/>
                    <a:pt x="150799" y="136513"/>
                    <a:pt x="150799" y="132809"/>
                  </a:cubicBezTo>
                  <a:lnTo>
                    <a:pt x="150799" y="121697"/>
                  </a:lnTo>
                  <a:cubicBezTo>
                    <a:pt x="150799" y="117993"/>
                    <a:pt x="153445" y="115348"/>
                    <a:pt x="157148" y="115348"/>
                  </a:cubicBezTo>
                  <a:cubicBezTo>
                    <a:pt x="160852" y="115348"/>
                    <a:pt x="163498" y="117993"/>
                    <a:pt x="163498" y="121697"/>
                  </a:cubicBezTo>
                  <a:close/>
                  <a:moveTo>
                    <a:pt x="173551" y="93654"/>
                  </a:moveTo>
                  <a:cubicBezTo>
                    <a:pt x="173551" y="91008"/>
                    <a:pt x="171435" y="88892"/>
                    <a:pt x="168789" y="88892"/>
                  </a:cubicBezTo>
                  <a:lnTo>
                    <a:pt x="157148" y="88892"/>
                  </a:lnTo>
                  <a:lnTo>
                    <a:pt x="146037" y="88892"/>
                  </a:lnTo>
                  <a:cubicBezTo>
                    <a:pt x="136513" y="88892"/>
                    <a:pt x="128576" y="80955"/>
                    <a:pt x="128576" y="71431"/>
                  </a:cubicBezTo>
                  <a:cubicBezTo>
                    <a:pt x="128576" y="61907"/>
                    <a:pt x="136513" y="53970"/>
                    <a:pt x="146037" y="53970"/>
                  </a:cubicBezTo>
                  <a:lnTo>
                    <a:pt x="179371" y="53970"/>
                  </a:lnTo>
                  <a:cubicBezTo>
                    <a:pt x="183075" y="53970"/>
                    <a:pt x="185721" y="56616"/>
                    <a:pt x="185721" y="60320"/>
                  </a:cubicBezTo>
                  <a:cubicBezTo>
                    <a:pt x="185721" y="64023"/>
                    <a:pt x="183075" y="66669"/>
                    <a:pt x="179371" y="66669"/>
                  </a:cubicBezTo>
                  <a:lnTo>
                    <a:pt x="146037" y="66669"/>
                  </a:lnTo>
                  <a:cubicBezTo>
                    <a:pt x="143391" y="66669"/>
                    <a:pt x="141275" y="68785"/>
                    <a:pt x="141275" y="71431"/>
                  </a:cubicBezTo>
                  <a:cubicBezTo>
                    <a:pt x="141275" y="74077"/>
                    <a:pt x="143391" y="76193"/>
                    <a:pt x="146037" y="76193"/>
                  </a:cubicBezTo>
                  <a:lnTo>
                    <a:pt x="157148" y="76193"/>
                  </a:lnTo>
                  <a:lnTo>
                    <a:pt x="168789" y="76193"/>
                  </a:lnTo>
                  <a:cubicBezTo>
                    <a:pt x="178313" y="76193"/>
                    <a:pt x="186250" y="84130"/>
                    <a:pt x="186250" y="93654"/>
                  </a:cubicBezTo>
                  <a:cubicBezTo>
                    <a:pt x="186250" y="103178"/>
                    <a:pt x="178313" y="111115"/>
                    <a:pt x="168789" y="111115"/>
                  </a:cubicBezTo>
                  <a:lnTo>
                    <a:pt x="134925" y="111115"/>
                  </a:lnTo>
                  <a:cubicBezTo>
                    <a:pt x="131222" y="111115"/>
                    <a:pt x="128576" y="108469"/>
                    <a:pt x="128576" y="104766"/>
                  </a:cubicBezTo>
                  <a:cubicBezTo>
                    <a:pt x="128576" y="101062"/>
                    <a:pt x="131222" y="98416"/>
                    <a:pt x="134925" y="98416"/>
                  </a:cubicBezTo>
                  <a:lnTo>
                    <a:pt x="168789" y="98416"/>
                  </a:lnTo>
                  <a:cubicBezTo>
                    <a:pt x="171435" y="98416"/>
                    <a:pt x="173551" y="96300"/>
                    <a:pt x="173551" y="9365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7" name="Google Shape;578;p59">
              <a:extLst>
                <a:ext uri="{FF2B5EF4-FFF2-40B4-BE49-F238E27FC236}">
                  <a16:creationId xmlns:a16="http://schemas.microsoft.com/office/drawing/2014/main" id="{930A9F48-E7EA-DF35-42A5-69FC615245B6}"/>
                </a:ext>
              </a:extLst>
            </p:cNvPr>
            <p:cNvGrpSpPr/>
            <p:nvPr/>
          </p:nvGrpSpPr>
          <p:grpSpPr>
            <a:xfrm>
              <a:off x="9127016" y="2373511"/>
              <a:ext cx="445699" cy="333971"/>
              <a:chOff x="5169055" y="4886980"/>
              <a:chExt cx="447869" cy="408804"/>
            </a:xfrm>
          </p:grpSpPr>
          <p:sp>
            <p:nvSpPr>
              <p:cNvPr id="64" name="Google Shape;579;p59">
                <a:extLst>
                  <a:ext uri="{FF2B5EF4-FFF2-40B4-BE49-F238E27FC236}">
                    <a16:creationId xmlns:a16="http://schemas.microsoft.com/office/drawing/2014/main" id="{C7BA839D-9B5B-C169-F4D5-17BC0FB80F49}"/>
                  </a:ext>
                </a:extLst>
              </p:cNvPr>
              <p:cNvSpPr/>
              <p:nvPr/>
            </p:nvSpPr>
            <p:spPr>
              <a:xfrm>
                <a:off x="5169055" y="5095531"/>
                <a:ext cx="447869" cy="200253"/>
              </a:xfrm>
              <a:custGeom>
                <a:avLst/>
                <a:gdLst/>
                <a:ahLst/>
                <a:cxnLst/>
                <a:rect l="l" t="t" r="r" b="b"/>
                <a:pathLst>
                  <a:path w="447869" h="200253" extrusionOk="0">
                    <a:moveTo>
                      <a:pt x="327318" y="19"/>
                    </a:moveTo>
                    <a:cubicBezTo>
                      <a:pt x="291451" y="-261"/>
                      <a:pt x="255926" y="7029"/>
                      <a:pt x="223064" y="21417"/>
                    </a:cubicBezTo>
                    <a:cubicBezTo>
                      <a:pt x="190208" y="7010"/>
                      <a:pt x="154683" y="-280"/>
                      <a:pt x="118810" y="19"/>
                    </a:cubicBezTo>
                    <a:cubicBezTo>
                      <a:pt x="80529" y="-386"/>
                      <a:pt x="42660" y="7956"/>
                      <a:pt x="8086" y="24403"/>
                    </a:cubicBezTo>
                    <a:lnTo>
                      <a:pt x="0" y="28508"/>
                    </a:lnTo>
                    <a:lnTo>
                      <a:pt x="0" y="200254"/>
                    </a:lnTo>
                    <a:lnTo>
                      <a:pt x="447869" y="200254"/>
                    </a:lnTo>
                    <a:lnTo>
                      <a:pt x="447869" y="29503"/>
                    </a:lnTo>
                    <a:lnTo>
                      <a:pt x="439907" y="25398"/>
                    </a:lnTo>
                    <a:cubicBezTo>
                      <a:pt x="404887" y="8230"/>
                      <a:pt x="366320" y="-460"/>
                      <a:pt x="327318" y="19"/>
                    </a:cubicBezTo>
                    <a:close/>
                    <a:moveTo>
                      <a:pt x="29485" y="170769"/>
                    </a:moveTo>
                    <a:lnTo>
                      <a:pt x="29485" y="46983"/>
                    </a:lnTo>
                    <a:cubicBezTo>
                      <a:pt x="86862" y="23681"/>
                      <a:pt x="151069" y="23681"/>
                      <a:pt x="208446" y="46983"/>
                    </a:cubicBezTo>
                    <a:lnTo>
                      <a:pt x="208446" y="170645"/>
                    </a:lnTo>
                    <a:close/>
                    <a:moveTo>
                      <a:pt x="418385" y="170769"/>
                    </a:moveTo>
                    <a:lnTo>
                      <a:pt x="239423" y="170769"/>
                    </a:lnTo>
                    <a:lnTo>
                      <a:pt x="239423" y="46361"/>
                    </a:lnTo>
                    <a:cubicBezTo>
                      <a:pt x="296981" y="23501"/>
                      <a:pt x="361182" y="23992"/>
                      <a:pt x="418385" y="4772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580;p59">
                <a:extLst>
                  <a:ext uri="{FF2B5EF4-FFF2-40B4-BE49-F238E27FC236}">
                    <a16:creationId xmlns:a16="http://schemas.microsoft.com/office/drawing/2014/main" id="{DC590CF0-2D2A-ABB8-EABD-D18972BF1B40}"/>
                  </a:ext>
                </a:extLst>
              </p:cNvPr>
              <p:cNvSpPr/>
              <p:nvPr/>
            </p:nvSpPr>
            <p:spPr>
              <a:xfrm>
                <a:off x="5401201" y="4886980"/>
                <a:ext cx="181386" cy="181387"/>
              </a:xfrm>
              <a:custGeom>
                <a:avLst/>
                <a:gdLst/>
                <a:ahLst/>
                <a:cxnLst/>
                <a:rect l="l" t="t" r="r" b="b"/>
                <a:pathLst>
                  <a:path w="181386" h="181387" extrusionOk="0">
                    <a:moveTo>
                      <a:pt x="90756" y="181387"/>
                    </a:moveTo>
                    <a:cubicBezTo>
                      <a:pt x="140843" y="181350"/>
                      <a:pt x="181425" y="140718"/>
                      <a:pt x="181387" y="90631"/>
                    </a:cubicBezTo>
                    <a:cubicBezTo>
                      <a:pt x="181350" y="40545"/>
                      <a:pt x="140718" y="-37"/>
                      <a:pt x="90631" y="0"/>
                    </a:cubicBezTo>
                    <a:cubicBezTo>
                      <a:pt x="40545" y="38"/>
                      <a:pt x="-31" y="40669"/>
                      <a:pt x="0" y="90756"/>
                    </a:cubicBezTo>
                    <a:cubicBezTo>
                      <a:pt x="68" y="140830"/>
                      <a:pt x="40681" y="181387"/>
                      <a:pt x="90756" y="181387"/>
                    </a:cubicBezTo>
                    <a:close/>
                    <a:moveTo>
                      <a:pt x="90756" y="29609"/>
                    </a:moveTo>
                    <a:cubicBezTo>
                      <a:pt x="124526" y="29609"/>
                      <a:pt x="151902" y="56985"/>
                      <a:pt x="151902" y="90756"/>
                    </a:cubicBezTo>
                    <a:cubicBezTo>
                      <a:pt x="151902" y="124527"/>
                      <a:pt x="124526" y="151903"/>
                      <a:pt x="90756" y="151903"/>
                    </a:cubicBezTo>
                    <a:cubicBezTo>
                      <a:pt x="56985" y="151903"/>
                      <a:pt x="29609" y="124527"/>
                      <a:pt x="29609" y="90756"/>
                    </a:cubicBezTo>
                    <a:cubicBezTo>
                      <a:pt x="29646" y="56998"/>
                      <a:pt x="56998" y="29646"/>
                      <a:pt x="90756" y="2960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581;p59">
                <a:extLst>
                  <a:ext uri="{FF2B5EF4-FFF2-40B4-BE49-F238E27FC236}">
                    <a16:creationId xmlns:a16="http://schemas.microsoft.com/office/drawing/2014/main" id="{2A7F63C5-8E08-DB61-81ED-52CA5B163E12}"/>
                  </a:ext>
                </a:extLst>
              </p:cNvPr>
              <p:cNvSpPr/>
              <p:nvPr/>
            </p:nvSpPr>
            <p:spPr>
              <a:xfrm>
                <a:off x="5192879" y="4886980"/>
                <a:ext cx="181386" cy="181387"/>
              </a:xfrm>
              <a:custGeom>
                <a:avLst/>
                <a:gdLst/>
                <a:ahLst/>
                <a:cxnLst/>
                <a:rect l="l" t="t" r="r" b="b"/>
                <a:pathLst>
                  <a:path w="181386" h="181387" extrusionOk="0">
                    <a:moveTo>
                      <a:pt x="90631" y="181387"/>
                    </a:moveTo>
                    <a:cubicBezTo>
                      <a:pt x="140718" y="181425"/>
                      <a:pt x="181350" y="140843"/>
                      <a:pt x="181387" y="90756"/>
                    </a:cubicBezTo>
                    <a:cubicBezTo>
                      <a:pt x="181418" y="40669"/>
                      <a:pt x="140842" y="38"/>
                      <a:pt x="90756" y="0"/>
                    </a:cubicBezTo>
                    <a:cubicBezTo>
                      <a:pt x="40669" y="-31"/>
                      <a:pt x="37" y="40545"/>
                      <a:pt x="0" y="90631"/>
                    </a:cubicBezTo>
                    <a:cubicBezTo>
                      <a:pt x="0" y="90675"/>
                      <a:pt x="0" y="90712"/>
                      <a:pt x="0" y="90756"/>
                    </a:cubicBezTo>
                    <a:cubicBezTo>
                      <a:pt x="68" y="140780"/>
                      <a:pt x="40607" y="181319"/>
                      <a:pt x="90631" y="181387"/>
                    </a:cubicBezTo>
                    <a:close/>
                    <a:moveTo>
                      <a:pt x="90631" y="29609"/>
                    </a:moveTo>
                    <a:cubicBezTo>
                      <a:pt x="124402" y="29609"/>
                      <a:pt x="151778" y="56985"/>
                      <a:pt x="151778" y="90756"/>
                    </a:cubicBezTo>
                    <a:cubicBezTo>
                      <a:pt x="151778" y="124527"/>
                      <a:pt x="124402" y="151903"/>
                      <a:pt x="90631" y="151903"/>
                    </a:cubicBezTo>
                    <a:cubicBezTo>
                      <a:pt x="56861" y="151903"/>
                      <a:pt x="29485" y="124527"/>
                      <a:pt x="29485" y="90756"/>
                    </a:cubicBezTo>
                    <a:cubicBezTo>
                      <a:pt x="29553" y="57016"/>
                      <a:pt x="56892" y="29678"/>
                      <a:pt x="90631" y="2960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48" name="Google Shape;582;p59">
              <a:extLst>
                <a:ext uri="{FF2B5EF4-FFF2-40B4-BE49-F238E27FC236}">
                  <a16:creationId xmlns:a16="http://schemas.microsoft.com/office/drawing/2014/main" id="{A257E5BF-F05A-1505-1CCF-DCEB9D257013}"/>
                </a:ext>
              </a:extLst>
            </p:cNvPr>
            <p:cNvSpPr/>
            <p:nvPr/>
          </p:nvSpPr>
          <p:spPr>
            <a:xfrm>
              <a:off x="8492625" y="5478100"/>
              <a:ext cx="535369" cy="401762"/>
            </a:xfrm>
            <a:custGeom>
              <a:avLst/>
              <a:gdLst/>
              <a:ahLst/>
              <a:cxnLst/>
              <a:rect l="l" t="t" r="r" b="b"/>
              <a:pathLst>
                <a:path w="1232002" h="1219301" extrusionOk="0">
                  <a:moveTo>
                    <a:pt x="264182" y="496612"/>
                  </a:moveTo>
                  <a:cubicBezTo>
                    <a:pt x="370871" y="496612"/>
                    <a:pt x="457238" y="410244"/>
                    <a:pt x="457238" y="303555"/>
                  </a:cubicBezTo>
                  <a:cubicBezTo>
                    <a:pt x="457238" y="196866"/>
                    <a:pt x="370871" y="110499"/>
                    <a:pt x="264182" y="110499"/>
                  </a:cubicBezTo>
                  <a:cubicBezTo>
                    <a:pt x="157493" y="110499"/>
                    <a:pt x="71126" y="196866"/>
                    <a:pt x="71126" y="303555"/>
                  </a:cubicBezTo>
                  <a:cubicBezTo>
                    <a:pt x="69856" y="410244"/>
                    <a:pt x="157493" y="496612"/>
                    <a:pt x="264182" y="496612"/>
                  </a:cubicBezTo>
                  <a:close/>
                  <a:moveTo>
                    <a:pt x="264182" y="172734"/>
                  </a:moveTo>
                  <a:cubicBezTo>
                    <a:pt x="336578" y="172734"/>
                    <a:pt x="395003" y="231159"/>
                    <a:pt x="395003" y="303555"/>
                  </a:cubicBezTo>
                  <a:cubicBezTo>
                    <a:pt x="395003" y="375951"/>
                    <a:pt x="336578" y="434376"/>
                    <a:pt x="264182" y="434376"/>
                  </a:cubicBezTo>
                  <a:cubicBezTo>
                    <a:pt x="191786" y="434376"/>
                    <a:pt x="133361" y="375951"/>
                    <a:pt x="133361" y="303555"/>
                  </a:cubicBezTo>
                  <a:cubicBezTo>
                    <a:pt x="132091" y="231159"/>
                    <a:pt x="191786" y="172734"/>
                    <a:pt x="264182" y="172734"/>
                  </a:cubicBezTo>
                  <a:close/>
                  <a:moveTo>
                    <a:pt x="264182" y="520743"/>
                  </a:moveTo>
                  <a:cubicBezTo>
                    <a:pt x="119390" y="520743"/>
                    <a:pt x="0" y="638863"/>
                    <a:pt x="0" y="784925"/>
                  </a:cubicBezTo>
                  <a:lnTo>
                    <a:pt x="0" y="1079589"/>
                  </a:lnTo>
                  <a:cubicBezTo>
                    <a:pt x="0" y="1097371"/>
                    <a:pt x="13971" y="1110072"/>
                    <a:pt x="30483" y="1110072"/>
                  </a:cubicBezTo>
                  <a:lnTo>
                    <a:pt x="496611" y="1110072"/>
                  </a:lnTo>
                  <a:cubicBezTo>
                    <a:pt x="514393" y="1110072"/>
                    <a:pt x="527094" y="1096101"/>
                    <a:pt x="527094" y="1079589"/>
                  </a:cubicBezTo>
                  <a:lnTo>
                    <a:pt x="527094" y="784925"/>
                  </a:lnTo>
                  <a:cubicBezTo>
                    <a:pt x="527094" y="638863"/>
                    <a:pt x="408974" y="520743"/>
                    <a:pt x="264182" y="520743"/>
                  </a:cubicBezTo>
                  <a:close/>
                  <a:moveTo>
                    <a:pt x="464859" y="1047837"/>
                  </a:moveTo>
                  <a:lnTo>
                    <a:pt x="60965" y="1047837"/>
                  </a:lnTo>
                  <a:lnTo>
                    <a:pt x="60965" y="784925"/>
                  </a:lnTo>
                  <a:cubicBezTo>
                    <a:pt x="60965" y="673155"/>
                    <a:pt x="151143" y="582978"/>
                    <a:pt x="262912" y="582978"/>
                  </a:cubicBezTo>
                  <a:cubicBezTo>
                    <a:pt x="374681" y="582978"/>
                    <a:pt x="464859" y="673155"/>
                    <a:pt x="464859" y="784925"/>
                  </a:cubicBezTo>
                  <a:lnTo>
                    <a:pt x="464859" y="1047837"/>
                  </a:lnTo>
                  <a:close/>
                  <a:moveTo>
                    <a:pt x="1202790" y="0"/>
                  </a:moveTo>
                  <a:lnTo>
                    <a:pt x="906856" y="0"/>
                  </a:lnTo>
                  <a:cubicBezTo>
                    <a:pt x="889074" y="0"/>
                    <a:pt x="876373" y="13971"/>
                    <a:pt x="876373" y="30482"/>
                  </a:cubicBezTo>
                  <a:lnTo>
                    <a:pt x="876373" y="326417"/>
                  </a:lnTo>
                  <a:cubicBezTo>
                    <a:pt x="876373" y="344198"/>
                    <a:pt x="890344" y="356899"/>
                    <a:pt x="906856" y="356899"/>
                  </a:cubicBezTo>
                  <a:lnTo>
                    <a:pt x="1202790" y="356899"/>
                  </a:lnTo>
                  <a:cubicBezTo>
                    <a:pt x="1220572" y="356899"/>
                    <a:pt x="1233273" y="342929"/>
                    <a:pt x="1233273" y="326417"/>
                  </a:cubicBezTo>
                  <a:lnTo>
                    <a:pt x="1233273" y="30482"/>
                  </a:lnTo>
                  <a:cubicBezTo>
                    <a:pt x="1234543" y="13971"/>
                    <a:pt x="1220572" y="0"/>
                    <a:pt x="1202790" y="0"/>
                  </a:cubicBezTo>
                  <a:close/>
                  <a:moveTo>
                    <a:pt x="1172308" y="297204"/>
                  </a:moveTo>
                  <a:lnTo>
                    <a:pt x="938608" y="297204"/>
                  </a:lnTo>
                  <a:lnTo>
                    <a:pt x="938608" y="63505"/>
                  </a:lnTo>
                  <a:lnTo>
                    <a:pt x="1172308" y="63505"/>
                  </a:lnTo>
                  <a:lnTo>
                    <a:pt x="1172308" y="297204"/>
                  </a:lnTo>
                  <a:close/>
                  <a:moveTo>
                    <a:pt x="1202790" y="868752"/>
                  </a:moveTo>
                  <a:lnTo>
                    <a:pt x="906856" y="868752"/>
                  </a:lnTo>
                  <a:cubicBezTo>
                    <a:pt x="889074" y="868752"/>
                    <a:pt x="876373" y="882723"/>
                    <a:pt x="876373" y="899235"/>
                  </a:cubicBezTo>
                  <a:lnTo>
                    <a:pt x="876373" y="1195170"/>
                  </a:lnTo>
                  <a:cubicBezTo>
                    <a:pt x="876373" y="1212950"/>
                    <a:pt x="890344" y="1225651"/>
                    <a:pt x="906856" y="1225651"/>
                  </a:cubicBezTo>
                  <a:lnTo>
                    <a:pt x="1202790" y="1225651"/>
                  </a:lnTo>
                  <a:cubicBezTo>
                    <a:pt x="1220572" y="1225651"/>
                    <a:pt x="1233273" y="1211681"/>
                    <a:pt x="1233273" y="1195170"/>
                  </a:cubicBezTo>
                  <a:lnTo>
                    <a:pt x="1233273" y="899235"/>
                  </a:lnTo>
                  <a:cubicBezTo>
                    <a:pt x="1234543" y="882723"/>
                    <a:pt x="1220572" y="868752"/>
                    <a:pt x="1202790" y="868752"/>
                  </a:cubicBezTo>
                  <a:close/>
                  <a:moveTo>
                    <a:pt x="1172308" y="1165957"/>
                  </a:moveTo>
                  <a:lnTo>
                    <a:pt x="938608" y="1165957"/>
                  </a:lnTo>
                  <a:lnTo>
                    <a:pt x="938608" y="932257"/>
                  </a:lnTo>
                  <a:lnTo>
                    <a:pt x="1172308" y="932257"/>
                  </a:lnTo>
                  <a:lnTo>
                    <a:pt x="1172308" y="1165957"/>
                  </a:lnTo>
                  <a:close/>
                  <a:moveTo>
                    <a:pt x="1202790" y="435646"/>
                  </a:moveTo>
                  <a:lnTo>
                    <a:pt x="906856" y="435646"/>
                  </a:lnTo>
                  <a:cubicBezTo>
                    <a:pt x="889074" y="435646"/>
                    <a:pt x="876373" y="449617"/>
                    <a:pt x="876373" y="466129"/>
                  </a:cubicBezTo>
                  <a:lnTo>
                    <a:pt x="876373" y="762063"/>
                  </a:lnTo>
                  <a:cubicBezTo>
                    <a:pt x="876373" y="779845"/>
                    <a:pt x="890344" y="792546"/>
                    <a:pt x="906856" y="792546"/>
                  </a:cubicBezTo>
                  <a:lnTo>
                    <a:pt x="1202790" y="792546"/>
                  </a:lnTo>
                  <a:cubicBezTo>
                    <a:pt x="1220572" y="792546"/>
                    <a:pt x="1233273" y="778575"/>
                    <a:pt x="1233273" y="762063"/>
                  </a:cubicBezTo>
                  <a:lnTo>
                    <a:pt x="1233273" y="466129"/>
                  </a:lnTo>
                  <a:cubicBezTo>
                    <a:pt x="1234543" y="449617"/>
                    <a:pt x="1220572" y="435646"/>
                    <a:pt x="1202790" y="435646"/>
                  </a:cubicBezTo>
                  <a:close/>
                  <a:moveTo>
                    <a:pt x="1172308" y="731581"/>
                  </a:moveTo>
                  <a:lnTo>
                    <a:pt x="938608" y="731581"/>
                  </a:lnTo>
                  <a:lnTo>
                    <a:pt x="938608" y="497882"/>
                  </a:lnTo>
                  <a:lnTo>
                    <a:pt x="1172308" y="497882"/>
                  </a:lnTo>
                  <a:lnTo>
                    <a:pt x="1172308" y="731581"/>
                  </a:lnTo>
                  <a:close/>
                  <a:moveTo>
                    <a:pt x="713800" y="241320"/>
                  </a:moveTo>
                  <a:lnTo>
                    <a:pt x="713800" y="596949"/>
                  </a:lnTo>
                  <a:lnTo>
                    <a:pt x="806517" y="596949"/>
                  </a:lnTo>
                  <a:cubicBezTo>
                    <a:pt x="824299" y="596949"/>
                    <a:pt x="837000" y="610921"/>
                    <a:pt x="837000" y="627432"/>
                  </a:cubicBezTo>
                  <a:cubicBezTo>
                    <a:pt x="837000" y="645214"/>
                    <a:pt x="823029" y="657915"/>
                    <a:pt x="806517" y="657915"/>
                  </a:cubicBezTo>
                  <a:lnTo>
                    <a:pt x="713800" y="657915"/>
                  </a:lnTo>
                  <a:lnTo>
                    <a:pt x="713800" y="1046567"/>
                  </a:lnTo>
                  <a:lnTo>
                    <a:pt x="806517" y="1046567"/>
                  </a:lnTo>
                  <a:cubicBezTo>
                    <a:pt x="824299" y="1046567"/>
                    <a:pt x="837000" y="1060538"/>
                    <a:pt x="837000" y="1077050"/>
                  </a:cubicBezTo>
                  <a:cubicBezTo>
                    <a:pt x="837000" y="1093562"/>
                    <a:pt x="823029" y="1107533"/>
                    <a:pt x="806517" y="1107533"/>
                  </a:cubicBezTo>
                  <a:lnTo>
                    <a:pt x="682047" y="1107533"/>
                  </a:lnTo>
                  <a:cubicBezTo>
                    <a:pt x="664266" y="1107533"/>
                    <a:pt x="651565" y="1093562"/>
                    <a:pt x="651565" y="1077050"/>
                  </a:cubicBezTo>
                  <a:lnTo>
                    <a:pt x="651565" y="657915"/>
                  </a:lnTo>
                  <a:lnTo>
                    <a:pt x="558847" y="657915"/>
                  </a:lnTo>
                  <a:cubicBezTo>
                    <a:pt x="541065" y="657915"/>
                    <a:pt x="528364" y="643944"/>
                    <a:pt x="528364" y="627432"/>
                  </a:cubicBezTo>
                  <a:cubicBezTo>
                    <a:pt x="528364" y="609650"/>
                    <a:pt x="542335" y="596949"/>
                    <a:pt x="558847" y="596949"/>
                  </a:cubicBezTo>
                  <a:lnTo>
                    <a:pt x="651565" y="596949"/>
                  </a:lnTo>
                  <a:lnTo>
                    <a:pt x="651565" y="209567"/>
                  </a:lnTo>
                  <a:cubicBezTo>
                    <a:pt x="651565" y="191786"/>
                    <a:pt x="665535" y="179085"/>
                    <a:pt x="682047" y="179085"/>
                  </a:cubicBezTo>
                  <a:lnTo>
                    <a:pt x="806517" y="179085"/>
                  </a:lnTo>
                  <a:cubicBezTo>
                    <a:pt x="824299" y="179085"/>
                    <a:pt x="837000" y="193056"/>
                    <a:pt x="837000" y="209567"/>
                  </a:cubicBezTo>
                  <a:cubicBezTo>
                    <a:pt x="837000" y="227348"/>
                    <a:pt x="823029" y="240050"/>
                    <a:pt x="806517" y="240050"/>
                  </a:cubicBezTo>
                  <a:lnTo>
                    <a:pt x="713800" y="24005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583;p59">
              <a:extLst>
                <a:ext uri="{FF2B5EF4-FFF2-40B4-BE49-F238E27FC236}">
                  <a16:creationId xmlns:a16="http://schemas.microsoft.com/office/drawing/2014/main" id="{29DDEF8A-4226-7158-0598-D2F19B1A7C4B}"/>
                </a:ext>
              </a:extLst>
            </p:cNvPr>
            <p:cNvSpPr/>
            <p:nvPr/>
          </p:nvSpPr>
          <p:spPr>
            <a:xfrm>
              <a:off x="9412325" y="4016619"/>
              <a:ext cx="547629" cy="449561"/>
            </a:xfrm>
            <a:custGeom>
              <a:avLst/>
              <a:gdLst/>
              <a:ahLst/>
              <a:cxnLst/>
              <a:rect l="l" t="t" r="r" b="b"/>
              <a:pathLst>
                <a:path w="1232002" h="1232002" extrusionOk="0">
                  <a:moveTo>
                    <a:pt x="1238353" y="776466"/>
                  </a:moveTo>
                  <a:lnTo>
                    <a:pt x="1238353" y="776466"/>
                  </a:lnTo>
                  <a:cubicBezTo>
                    <a:pt x="1223113" y="705340"/>
                    <a:pt x="1153257" y="660886"/>
                    <a:pt x="1083401" y="674857"/>
                  </a:cubicBezTo>
                  <a:cubicBezTo>
                    <a:pt x="1049109" y="682478"/>
                    <a:pt x="1019896" y="701529"/>
                    <a:pt x="1000844" y="732012"/>
                  </a:cubicBezTo>
                  <a:cubicBezTo>
                    <a:pt x="981792" y="762495"/>
                    <a:pt x="975442" y="796787"/>
                    <a:pt x="981792" y="829811"/>
                  </a:cubicBezTo>
                  <a:cubicBezTo>
                    <a:pt x="984332" y="842512"/>
                    <a:pt x="989413" y="853942"/>
                    <a:pt x="995763" y="865373"/>
                  </a:cubicBezTo>
                  <a:lnTo>
                    <a:pt x="854782" y="996195"/>
                  </a:lnTo>
                  <a:cubicBezTo>
                    <a:pt x="853512" y="994925"/>
                    <a:pt x="852242" y="993654"/>
                    <a:pt x="850971" y="992384"/>
                  </a:cubicBezTo>
                  <a:cubicBezTo>
                    <a:pt x="821759" y="973332"/>
                    <a:pt x="786196" y="966982"/>
                    <a:pt x="753173" y="973332"/>
                  </a:cubicBezTo>
                  <a:cubicBezTo>
                    <a:pt x="735392" y="977143"/>
                    <a:pt x="718881" y="984763"/>
                    <a:pt x="704909" y="993654"/>
                  </a:cubicBezTo>
                  <a:lnTo>
                    <a:pt x="546146" y="860292"/>
                  </a:lnTo>
                  <a:cubicBezTo>
                    <a:pt x="560118" y="833620"/>
                    <a:pt x="563927" y="804409"/>
                    <a:pt x="557577" y="773926"/>
                  </a:cubicBezTo>
                  <a:cubicBezTo>
                    <a:pt x="549956" y="739632"/>
                    <a:pt x="530905" y="710421"/>
                    <a:pt x="500422" y="691369"/>
                  </a:cubicBezTo>
                  <a:cubicBezTo>
                    <a:pt x="471211" y="672318"/>
                    <a:pt x="435647" y="665967"/>
                    <a:pt x="402624" y="673587"/>
                  </a:cubicBezTo>
                  <a:cubicBezTo>
                    <a:pt x="368331" y="681208"/>
                    <a:pt x="339119" y="700259"/>
                    <a:pt x="320068" y="730742"/>
                  </a:cubicBezTo>
                  <a:cubicBezTo>
                    <a:pt x="301016" y="759955"/>
                    <a:pt x="294665" y="795517"/>
                    <a:pt x="302286" y="828540"/>
                  </a:cubicBezTo>
                  <a:cubicBezTo>
                    <a:pt x="306097" y="843782"/>
                    <a:pt x="312447" y="859023"/>
                    <a:pt x="320068" y="871724"/>
                  </a:cubicBezTo>
                  <a:lnTo>
                    <a:pt x="199408" y="989844"/>
                  </a:lnTo>
                  <a:cubicBezTo>
                    <a:pt x="179086" y="977143"/>
                    <a:pt x="156224" y="969523"/>
                    <a:pt x="130822" y="969523"/>
                  </a:cubicBezTo>
                  <a:cubicBezTo>
                    <a:pt x="58426" y="969523"/>
                    <a:pt x="0" y="1027947"/>
                    <a:pt x="0" y="1100343"/>
                  </a:cubicBezTo>
                  <a:cubicBezTo>
                    <a:pt x="0" y="1172740"/>
                    <a:pt x="58426" y="1231164"/>
                    <a:pt x="130822" y="1231164"/>
                  </a:cubicBezTo>
                  <a:cubicBezTo>
                    <a:pt x="203217" y="1231164"/>
                    <a:pt x="261643" y="1172740"/>
                    <a:pt x="261643" y="1100343"/>
                  </a:cubicBezTo>
                  <a:cubicBezTo>
                    <a:pt x="261643" y="1076210"/>
                    <a:pt x="254021" y="1053349"/>
                    <a:pt x="242591" y="1034298"/>
                  </a:cubicBezTo>
                  <a:lnTo>
                    <a:pt x="364521" y="913638"/>
                  </a:lnTo>
                  <a:cubicBezTo>
                    <a:pt x="384843" y="925069"/>
                    <a:pt x="406434" y="931420"/>
                    <a:pt x="429296" y="931420"/>
                  </a:cubicBezTo>
                  <a:cubicBezTo>
                    <a:pt x="438187" y="931420"/>
                    <a:pt x="447078" y="930148"/>
                    <a:pt x="455968" y="928878"/>
                  </a:cubicBezTo>
                  <a:cubicBezTo>
                    <a:pt x="473750" y="925069"/>
                    <a:pt x="490262" y="917447"/>
                    <a:pt x="505503" y="907287"/>
                  </a:cubicBezTo>
                  <a:lnTo>
                    <a:pt x="662996" y="1040648"/>
                  </a:lnTo>
                  <a:cubicBezTo>
                    <a:pt x="649025" y="1066051"/>
                    <a:pt x="643945" y="1096533"/>
                    <a:pt x="650295" y="1128286"/>
                  </a:cubicBezTo>
                  <a:cubicBezTo>
                    <a:pt x="662996" y="1189250"/>
                    <a:pt x="717610" y="1232434"/>
                    <a:pt x="778576" y="1232434"/>
                  </a:cubicBezTo>
                  <a:cubicBezTo>
                    <a:pt x="787466" y="1232434"/>
                    <a:pt x="796357" y="1231164"/>
                    <a:pt x="805247" y="1229894"/>
                  </a:cubicBezTo>
                  <a:cubicBezTo>
                    <a:pt x="839541" y="1222273"/>
                    <a:pt x="868753" y="1203221"/>
                    <a:pt x="887804" y="1172740"/>
                  </a:cubicBezTo>
                  <a:cubicBezTo>
                    <a:pt x="906856" y="1143527"/>
                    <a:pt x="913206" y="1107963"/>
                    <a:pt x="906856" y="1074941"/>
                  </a:cubicBezTo>
                  <a:cubicBezTo>
                    <a:pt x="904316" y="1063509"/>
                    <a:pt x="900505" y="1053349"/>
                    <a:pt x="895425" y="1043188"/>
                  </a:cubicBezTo>
                  <a:lnTo>
                    <a:pt x="1037677" y="911097"/>
                  </a:lnTo>
                  <a:cubicBezTo>
                    <a:pt x="1037677" y="911097"/>
                    <a:pt x="1038947" y="912368"/>
                    <a:pt x="1038947" y="912368"/>
                  </a:cubicBezTo>
                  <a:cubicBezTo>
                    <a:pt x="1060538" y="926339"/>
                    <a:pt x="1084671" y="933959"/>
                    <a:pt x="1110073" y="933959"/>
                  </a:cubicBezTo>
                  <a:cubicBezTo>
                    <a:pt x="1118965" y="933959"/>
                    <a:pt x="1127855" y="932689"/>
                    <a:pt x="1136745" y="931420"/>
                  </a:cubicBezTo>
                  <a:cubicBezTo>
                    <a:pt x="1207872" y="917447"/>
                    <a:pt x="1253595" y="847591"/>
                    <a:pt x="1238353" y="776466"/>
                  </a:cubicBezTo>
                  <a:close/>
                  <a:moveTo>
                    <a:pt x="130822" y="1171468"/>
                  </a:moveTo>
                  <a:cubicBezTo>
                    <a:pt x="92718" y="1171468"/>
                    <a:pt x="62235" y="1140987"/>
                    <a:pt x="62235" y="1102884"/>
                  </a:cubicBezTo>
                  <a:cubicBezTo>
                    <a:pt x="62235" y="1064781"/>
                    <a:pt x="92718" y="1034298"/>
                    <a:pt x="130822" y="1034298"/>
                  </a:cubicBezTo>
                  <a:cubicBezTo>
                    <a:pt x="168925" y="1034298"/>
                    <a:pt x="199408" y="1064781"/>
                    <a:pt x="199408" y="1102884"/>
                  </a:cubicBezTo>
                  <a:cubicBezTo>
                    <a:pt x="199408" y="1140987"/>
                    <a:pt x="168925" y="1171468"/>
                    <a:pt x="130822" y="1171468"/>
                  </a:cubicBezTo>
                  <a:close/>
                  <a:moveTo>
                    <a:pt x="444537" y="871724"/>
                  </a:moveTo>
                  <a:cubicBezTo>
                    <a:pt x="426757" y="875535"/>
                    <a:pt x="407705" y="871724"/>
                    <a:pt x="392463" y="861564"/>
                  </a:cubicBezTo>
                  <a:cubicBezTo>
                    <a:pt x="377222" y="851402"/>
                    <a:pt x="367061" y="836162"/>
                    <a:pt x="363252" y="818380"/>
                  </a:cubicBezTo>
                  <a:cubicBezTo>
                    <a:pt x="359441" y="800598"/>
                    <a:pt x="363252" y="781546"/>
                    <a:pt x="373411" y="766306"/>
                  </a:cubicBezTo>
                  <a:cubicBezTo>
                    <a:pt x="383573" y="751064"/>
                    <a:pt x="398814" y="740904"/>
                    <a:pt x="416595" y="737093"/>
                  </a:cubicBezTo>
                  <a:cubicBezTo>
                    <a:pt x="421676" y="735823"/>
                    <a:pt x="426757" y="735823"/>
                    <a:pt x="430566" y="735823"/>
                  </a:cubicBezTo>
                  <a:cubicBezTo>
                    <a:pt x="443267" y="735823"/>
                    <a:pt x="457238" y="739632"/>
                    <a:pt x="467400" y="747254"/>
                  </a:cubicBezTo>
                  <a:cubicBezTo>
                    <a:pt x="482640" y="757414"/>
                    <a:pt x="492802" y="772656"/>
                    <a:pt x="496613" y="790437"/>
                  </a:cubicBezTo>
                  <a:lnTo>
                    <a:pt x="496613" y="790437"/>
                  </a:lnTo>
                  <a:cubicBezTo>
                    <a:pt x="500422" y="808218"/>
                    <a:pt x="496613" y="827270"/>
                    <a:pt x="486451" y="842512"/>
                  </a:cubicBezTo>
                  <a:cubicBezTo>
                    <a:pt x="477561" y="856483"/>
                    <a:pt x="462319" y="867914"/>
                    <a:pt x="444537" y="871724"/>
                  </a:cubicBezTo>
                  <a:close/>
                  <a:moveTo>
                    <a:pt x="837000" y="1140987"/>
                  </a:moveTo>
                  <a:cubicBezTo>
                    <a:pt x="826840" y="1156228"/>
                    <a:pt x="811598" y="1166389"/>
                    <a:pt x="793816" y="1170199"/>
                  </a:cubicBezTo>
                  <a:cubicBezTo>
                    <a:pt x="756984" y="1177819"/>
                    <a:pt x="720151" y="1153688"/>
                    <a:pt x="712531" y="1116855"/>
                  </a:cubicBezTo>
                  <a:cubicBezTo>
                    <a:pt x="704909" y="1080021"/>
                    <a:pt x="729041" y="1043188"/>
                    <a:pt x="765874" y="1035568"/>
                  </a:cubicBezTo>
                  <a:cubicBezTo>
                    <a:pt x="770955" y="1034298"/>
                    <a:pt x="776036" y="1034298"/>
                    <a:pt x="779845" y="1034298"/>
                  </a:cubicBezTo>
                  <a:cubicBezTo>
                    <a:pt x="792546" y="1034298"/>
                    <a:pt x="806517" y="1038107"/>
                    <a:pt x="816679" y="1045729"/>
                  </a:cubicBezTo>
                  <a:cubicBezTo>
                    <a:pt x="831919" y="1055889"/>
                    <a:pt x="842081" y="1071131"/>
                    <a:pt x="845892" y="1088911"/>
                  </a:cubicBezTo>
                  <a:lnTo>
                    <a:pt x="845892" y="1088911"/>
                  </a:lnTo>
                  <a:cubicBezTo>
                    <a:pt x="850971" y="1106693"/>
                    <a:pt x="847162" y="1125745"/>
                    <a:pt x="837000" y="1140987"/>
                  </a:cubicBezTo>
                  <a:close/>
                  <a:moveTo>
                    <a:pt x="1124044" y="871724"/>
                  </a:moveTo>
                  <a:cubicBezTo>
                    <a:pt x="1106263" y="875535"/>
                    <a:pt x="1087212" y="871724"/>
                    <a:pt x="1071970" y="861564"/>
                  </a:cubicBezTo>
                  <a:cubicBezTo>
                    <a:pt x="1056729" y="851402"/>
                    <a:pt x="1046568" y="836162"/>
                    <a:pt x="1042758" y="818380"/>
                  </a:cubicBezTo>
                  <a:cubicBezTo>
                    <a:pt x="1038947" y="800598"/>
                    <a:pt x="1042758" y="781546"/>
                    <a:pt x="1052918" y="766306"/>
                  </a:cubicBezTo>
                  <a:cubicBezTo>
                    <a:pt x="1063080" y="751064"/>
                    <a:pt x="1078320" y="740904"/>
                    <a:pt x="1096102" y="737093"/>
                  </a:cubicBezTo>
                  <a:cubicBezTo>
                    <a:pt x="1101183" y="735823"/>
                    <a:pt x="1104992" y="735823"/>
                    <a:pt x="1110073" y="735823"/>
                  </a:cubicBezTo>
                  <a:cubicBezTo>
                    <a:pt x="1141826" y="735823"/>
                    <a:pt x="1171039" y="758684"/>
                    <a:pt x="1177389" y="790437"/>
                  </a:cubicBezTo>
                  <a:cubicBezTo>
                    <a:pt x="1185009" y="827270"/>
                    <a:pt x="1162147" y="862834"/>
                    <a:pt x="1124044" y="871724"/>
                  </a:cubicBezTo>
                  <a:close/>
                  <a:moveTo>
                    <a:pt x="753173" y="450049"/>
                  </a:moveTo>
                  <a:cubicBezTo>
                    <a:pt x="762064" y="450049"/>
                    <a:pt x="770955" y="450049"/>
                    <a:pt x="779845" y="448779"/>
                  </a:cubicBezTo>
                  <a:cubicBezTo>
                    <a:pt x="838270" y="442429"/>
                    <a:pt x="887804" y="413216"/>
                    <a:pt x="923368" y="372572"/>
                  </a:cubicBezTo>
                  <a:lnTo>
                    <a:pt x="1193900" y="546577"/>
                  </a:lnTo>
                  <a:cubicBezTo>
                    <a:pt x="1198980" y="550388"/>
                    <a:pt x="1205331" y="551658"/>
                    <a:pt x="1210412" y="551658"/>
                  </a:cubicBezTo>
                  <a:cubicBezTo>
                    <a:pt x="1220573" y="551658"/>
                    <a:pt x="1230733" y="546577"/>
                    <a:pt x="1237083" y="537687"/>
                  </a:cubicBezTo>
                  <a:cubicBezTo>
                    <a:pt x="1245975" y="523714"/>
                    <a:pt x="1242164" y="504663"/>
                    <a:pt x="1228193" y="494503"/>
                  </a:cubicBezTo>
                  <a:lnTo>
                    <a:pt x="957660" y="320498"/>
                  </a:lnTo>
                  <a:cubicBezTo>
                    <a:pt x="975442" y="283665"/>
                    <a:pt x="983062" y="241751"/>
                    <a:pt x="977982" y="198568"/>
                  </a:cubicBezTo>
                  <a:cubicBezTo>
                    <a:pt x="964011" y="75368"/>
                    <a:pt x="850971" y="-13540"/>
                    <a:pt x="727771" y="1701"/>
                  </a:cubicBezTo>
                  <a:cubicBezTo>
                    <a:pt x="604572" y="15673"/>
                    <a:pt x="515664" y="128712"/>
                    <a:pt x="530905" y="251912"/>
                  </a:cubicBezTo>
                  <a:cubicBezTo>
                    <a:pt x="542336" y="366222"/>
                    <a:pt x="640134" y="450049"/>
                    <a:pt x="753173" y="450049"/>
                  </a:cubicBezTo>
                  <a:close/>
                  <a:moveTo>
                    <a:pt x="734122" y="62667"/>
                  </a:moveTo>
                  <a:cubicBezTo>
                    <a:pt x="740472" y="61396"/>
                    <a:pt x="746823" y="61396"/>
                    <a:pt x="753173" y="61396"/>
                  </a:cubicBezTo>
                  <a:cubicBezTo>
                    <a:pt x="834460" y="61396"/>
                    <a:pt x="905586" y="122361"/>
                    <a:pt x="915748" y="204918"/>
                  </a:cubicBezTo>
                  <a:cubicBezTo>
                    <a:pt x="920827" y="244292"/>
                    <a:pt x="909397" y="281124"/>
                    <a:pt x="890345" y="312877"/>
                  </a:cubicBezTo>
                  <a:cubicBezTo>
                    <a:pt x="890345" y="312877"/>
                    <a:pt x="890345" y="312877"/>
                    <a:pt x="890345" y="312877"/>
                  </a:cubicBezTo>
                  <a:cubicBezTo>
                    <a:pt x="890345" y="312877"/>
                    <a:pt x="890345" y="312877"/>
                    <a:pt x="890345" y="312877"/>
                  </a:cubicBezTo>
                  <a:cubicBezTo>
                    <a:pt x="864943" y="352251"/>
                    <a:pt x="823029" y="380193"/>
                    <a:pt x="773495" y="386544"/>
                  </a:cubicBezTo>
                  <a:cubicBezTo>
                    <a:pt x="684587" y="396705"/>
                    <a:pt x="603300" y="333199"/>
                    <a:pt x="591871" y="243021"/>
                  </a:cubicBezTo>
                  <a:cubicBezTo>
                    <a:pt x="580439" y="155384"/>
                    <a:pt x="643945" y="74097"/>
                    <a:pt x="734122" y="6266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" name="Google Shape;584;p59">
              <a:extLst>
                <a:ext uri="{FF2B5EF4-FFF2-40B4-BE49-F238E27FC236}">
                  <a16:creationId xmlns:a16="http://schemas.microsoft.com/office/drawing/2014/main" id="{38FD1E0C-8CA5-7651-6C43-DF16F03C0830}"/>
                </a:ext>
              </a:extLst>
            </p:cNvPr>
            <p:cNvGrpSpPr/>
            <p:nvPr/>
          </p:nvGrpSpPr>
          <p:grpSpPr>
            <a:xfrm>
              <a:off x="6444368" y="6254680"/>
              <a:ext cx="445700" cy="304903"/>
              <a:chOff x="1462729" y="3721785"/>
              <a:chExt cx="447869" cy="373224"/>
            </a:xfrm>
          </p:grpSpPr>
          <p:sp>
            <p:nvSpPr>
              <p:cNvPr id="60" name="Google Shape;585;p59">
                <a:extLst>
                  <a:ext uri="{FF2B5EF4-FFF2-40B4-BE49-F238E27FC236}">
                    <a16:creationId xmlns:a16="http://schemas.microsoft.com/office/drawing/2014/main" id="{3084B1BF-B017-D52A-ABB8-8A66A9DE467F}"/>
                  </a:ext>
                </a:extLst>
              </p:cNvPr>
              <p:cNvSpPr/>
              <p:nvPr/>
            </p:nvSpPr>
            <p:spPr>
              <a:xfrm>
                <a:off x="1697798" y="3791765"/>
                <a:ext cx="212613" cy="27991"/>
              </a:xfrm>
              <a:custGeom>
                <a:avLst/>
                <a:gdLst/>
                <a:ahLst/>
                <a:cxnLst/>
                <a:rect l="l" t="t" r="r" b="b"/>
                <a:pathLst>
                  <a:path w="212613" h="27991" extrusionOk="0">
                    <a:moveTo>
                      <a:pt x="0" y="27992"/>
                    </a:moveTo>
                    <a:lnTo>
                      <a:pt x="212614" y="27992"/>
                    </a:lnTo>
                    <a:lnTo>
                      <a:pt x="212614" y="0"/>
                    </a:lnTo>
                    <a:lnTo>
                      <a:pt x="0" y="0"/>
                    </a:lnTo>
                    <a:lnTo>
                      <a:pt x="0" y="27992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586;p59">
                <a:extLst>
                  <a:ext uri="{FF2B5EF4-FFF2-40B4-BE49-F238E27FC236}">
                    <a16:creationId xmlns:a16="http://schemas.microsoft.com/office/drawing/2014/main" id="{9AAEEFF5-595F-611B-EADD-12A8AE4ACED2}"/>
                  </a:ext>
                </a:extLst>
              </p:cNvPr>
              <p:cNvSpPr/>
              <p:nvPr/>
            </p:nvSpPr>
            <p:spPr>
              <a:xfrm>
                <a:off x="1697985" y="4005125"/>
                <a:ext cx="212613" cy="27991"/>
              </a:xfrm>
              <a:custGeom>
                <a:avLst/>
                <a:gdLst/>
                <a:ahLst/>
                <a:cxnLst/>
                <a:rect l="l" t="t" r="r" b="b"/>
                <a:pathLst>
                  <a:path w="212613" h="27991" extrusionOk="0">
                    <a:moveTo>
                      <a:pt x="0" y="27992"/>
                    </a:moveTo>
                    <a:lnTo>
                      <a:pt x="212614" y="27992"/>
                    </a:lnTo>
                    <a:lnTo>
                      <a:pt x="212614" y="0"/>
                    </a:lnTo>
                    <a:lnTo>
                      <a:pt x="0" y="0"/>
                    </a:lnTo>
                    <a:lnTo>
                      <a:pt x="0" y="27992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587;p59">
                <a:extLst>
                  <a:ext uri="{FF2B5EF4-FFF2-40B4-BE49-F238E27FC236}">
                    <a16:creationId xmlns:a16="http://schemas.microsoft.com/office/drawing/2014/main" id="{0CFDD824-113A-1F58-77C6-570F13B5F83D}"/>
                  </a:ext>
                </a:extLst>
              </p:cNvPr>
              <p:cNvSpPr/>
              <p:nvPr/>
            </p:nvSpPr>
            <p:spPr>
              <a:xfrm>
                <a:off x="1476663" y="3721785"/>
                <a:ext cx="167889" cy="168137"/>
              </a:xfrm>
              <a:custGeom>
                <a:avLst/>
                <a:gdLst/>
                <a:ahLst/>
                <a:cxnLst/>
                <a:rect l="l" t="t" r="r" b="b"/>
                <a:pathLst>
                  <a:path w="167889" h="168137" extrusionOk="0">
                    <a:moveTo>
                      <a:pt x="139897" y="27992"/>
                    </a:moveTo>
                    <a:lnTo>
                      <a:pt x="27930" y="27992"/>
                    </a:lnTo>
                    <a:lnTo>
                      <a:pt x="27930" y="139959"/>
                    </a:lnTo>
                    <a:lnTo>
                      <a:pt x="139897" y="139959"/>
                    </a:lnTo>
                    <a:close/>
                    <a:moveTo>
                      <a:pt x="153893" y="0"/>
                    </a:moveTo>
                    <a:cubicBezTo>
                      <a:pt x="161588" y="-37"/>
                      <a:pt x="167851" y="6177"/>
                      <a:pt x="167889" y="13872"/>
                    </a:cubicBezTo>
                    <a:cubicBezTo>
                      <a:pt x="167889" y="13915"/>
                      <a:pt x="167889" y="13953"/>
                      <a:pt x="167889" y="13996"/>
                    </a:cubicBezTo>
                    <a:lnTo>
                      <a:pt x="167889" y="154142"/>
                    </a:lnTo>
                    <a:cubicBezTo>
                      <a:pt x="167926" y="161837"/>
                      <a:pt x="161712" y="168100"/>
                      <a:pt x="154017" y="168138"/>
                    </a:cubicBezTo>
                    <a:cubicBezTo>
                      <a:pt x="153974" y="168138"/>
                      <a:pt x="153937" y="168138"/>
                      <a:pt x="153893" y="168138"/>
                    </a:cubicBezTo>
                    <a:lnTo>
                      <a:pt x="13996" y="168138"/>
                    </a:lnTo>
                    <a:cubicBezTo>
                      <a:pt x="6264" y="168138"/>
                      <a:pt x="0" y="161874"/>
                      <a:pt x="0" y="154142"/>
                    </a:cubicBezTo>
                    <a:lnTo>
                      <a:pt x="0" y="14183"/>
                    </a:lnTo>
                    <a:cubicBezTo>
                      <a:pt x="0" y="6451"/>
                      <a:pt x="6264" y="187"/>
                      <a:pt x="13996" y="187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588;p59">
                <a:extLst>
                  <a:ext uri="{FF2B5EF4-FFF2-40B4-BE49-F238E27FC236}">
                    <a16:creationId xmlns:a16="http://schemas.microsoft.com/office/drawing/2014/main" id="{C00A01CF-EFB9-983B-7E01-F005E0B37E55}"/>
                  </a:ext>
                </a:extLst>
              </p:cNvPr>
              <p:cNvSpPr/>
              <p:nvPr/>
            </p:nvSpPr>
            <p:spPr>
              <a:xfrm>
                <a:off x="1462729" y="3943232"/>
                <a:ext cx="196129" cy="151777"/>
              </a:xfrm>
              <a:custGeom>
                <a:avLst/>
                <a:gdLst/>
                <a:ahLst/>
                <a:cxnLst/>
                <a:rect l="l" t="t" r="r" b="b"/>
                <a:pathLst>
                  <a:path w="196129" h="151777" extrusionOk="0">
                    <a:moveTo>
                      <a:pt x="64568" y="112154"/>
                    </a:moveTo>
                    <a:lnTo>
                      <a:pt x="19781" y="67429"/>
                    </a:lnTo>
                    <a:lnTo>
                      <a:pt x="0" y="87210"/>
                    </a:lnTo>
                    <a:lnTo>
                      <a:pt x="64568" y="151778"/>
                    </a:lnTo>
                    <a:lnTo>
                      <a:pt x="196129" y="19781"/>
                    </a:lnTo>
                    <a:lnTo>
                      <a:pt x="176162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1" name="Google Shape;589;p59">
              <a:extLst>
                <a:ext uri="{FF2B5EF4-FFF2-40B4-BE49-F238E27FC236}">
                  <a16:creationId xmlns:a16="http://schemas.microsoft.com/office/drawing/2014/main" id="{2512D374-226D-A6E9-2438-4D707171F9DB}"/>
                </a:ext>
              </a:extLst>
            </p:cNvPr>
            <p:cNvGrpSpPr/>
            <p:nvPr/>
          </p:nvGrpSpPr>
          <p:grpSpPr>
            <a:xfrm>
              <a:off x="3266948" y="2564016"/>
              <a:ext cx="577214" cy="304906"/>
              <a:chOff x="1290638" y="3175389"/>
              <a:chExt cx="271462" cy="187325"/>
            </a:xfrm>
          </p:grpSpPr>
          <p:sp>
            <p:nvSpPr>
              <p:cNvPr id="58" name="Google Shape;590;p59">
                <a:extLst>
                  <a:ext uri="{FF2B5EF4-FFF2-40B4-BE49-F238E27FC236}">
                    <a16:creationId xmlns:a16="http://schemas.microsoft.com/office/drawing/2014/main" id="{08017DF7-E945-74AB-5695-E909DD4165C1}"/>
                  </a:ext>
                </a:extLst>
              </p:cNvPr>
              <p:cNvSpPr/>
              <p:nvPr/>
            </p:nvSpPr>
            <p:spPr>
              <a:xfrm>
                <a:off x="1290638" y="3175389"/>
                <a:ext cx="271462" cy="146050"/>
              </a:xfrm>
              <a:custGeom>
                <a:avLst/>
                <a:gdLst/>
                <a:ahLst/>
                <a:cxnLst/>
                <a:rect l="l" t="t" r="r" b="b"/>
                <a:pathLst>
                  <a:path w="753" h="407" extrusionOk="0">
                    <a:moveTo>
                      <a:pt x="641" y="182"/>
                    </a:moveTo>
                    <a:lnTo>
                      <a:pt x="641" y="182"/>
                    </a:lnTo>
                    <a:cubicBezTo>
                      <a:pt x="634" y="79"/>
                      <a:pt x="548" y="0"/>
                      <a:pt x="445" y="0"/>
                    </a:cubicBezTo>
                    <a:cubicBezTo>
                      <a:pt x="393" y="0"/>
                      <a:pt x="342" y="21"/>
                      <a:pt x="304" y="58"/>
                    </a:cubicBezTo>
                    <a:cubicBezTo>
                      <a:pt x="283" y="48"/>
                      <a:pt x="262" y="45"/>
                      <a:pt x="238" y="45"/>
                    </a:cubicBezTo>
                    <a:cubicBezTo>
                      <a:pt x="152" y="45"/>
                      <a:pt x="83" y="113"/>
                      <a:pt x="83" y="196"/>
                    </a:cubicBezTo>
                    <a:cubicBezTo>
                      <a:pt x="35" y="210"/>
                      <a:pt x="0" y="255"/>
                      <a:pt x="0" y="306"/>
                    </a:cubicBezTo>
                    <a:cubicBezTo>
                      <a:pt x="0" y="348"/>
                      <a:pt x="24" y="386"/>
                      <a:pt x="62" y="406"/>
                    </a:cubicBezTo>
                    <a:cubicBezTo>
                      <a:pt x="66" y="406"/>
                      <a:pt x="66" y="406"/>
                      <a:pt x="69" y="406"/>
                    </a:cubicBezTo>
                    <a:lnTo>
                      <a:pt x="69" y="406"/>
                    </a:lnTo>
                    <a:cubicBezTo>
                      <a:pt x="149" y="406"/>
                      <a:pt x="149" y="406"/>
                      <a:pt x="149" y="406"/>
                    </a:cubicBezTo>
                    <a:cubicBezTo>
                      <a:pt x="159" y="406"/>
                      <a:pt x="166" y="399"/>
                      <a:pt x="166" y="389"/>
                    </a:cubicBezTo>
                    <a:cubicBezTo>
                      <a:pt x="166" y="382"/>
                      <a:pt x="159" y="375"/>
                      <a:pt x="149" y="375"/>
                    </a:cubicBezTo>
                    <a:lnTo>
                      <a:pt x="149" y="375"/>
                    </a:lnTo>
                    <a:cubicBezTo>
                      <a:pt x="73" y="375"/>
                      <a:pt x="73" y="375"/>
                      <a:pt x="73" y="375"/>
                    </a:cubicBezTo>
                    <a:cubicBezTo>
                      <a:pt x="49" y="362"/>
                      <a:pt x="31" y="334"/>
                      <a:pt x="31" y="306"/>
                    </a:cubicBezTo>
                    <a:cubicBezTo>
                      <a:pt x="31" y="265"/>
                      <a:pt x="62" y="231"/>
                      <a:pt x="104" y="224"/>
                    </a:cubicBezTo>
                    <a:cubicBezTo>
                      <a:pt x="111" y="224"/>
                      <a:pt x="118" y="217"/>
                      <a:pt x="114" y="207"/>
                    </a:cubicBezTo>
                    <a:cubicBezTo>
                      <a:pt x="114" y="203"/>
                      <a:pt x="114" y="203"/>
                      <a:pt x="114" y="203"/>
                    </a:cubicBezTo>
                    <a:cubicBezTo>
                      <a:pt x="114" y="200"/>
                      <a:pt x="114" y="200"/>
                      <a:pt x="114" y="196"/>
                    </a:cubicBezTo>
                    <a:cubicBezTo>
                      <a:pt x="114" y="131"/>
                      <a:pt x="169" y="76"/>
                      <a:pt x="238" y="76"/>
                    </a:cubicBezTo>
                    <a:cubicBezTo>
                      <a:pt x="259" y="76"/>
                      <a:pt x="279" y="79"/>
                      <a:pt x="300" y="93"/>
                    </a:cubicBezTo>
                    <a:cubicBezTo>
                      <a:pt x="307" y="96"/>
                      <a:pt x="314" y="93"/>
                      <a:pt x="317" y="89"/>
                    </a:cubicBezTo>
                    <a:cubicBezTo>
                      <a:pt x="352" y="51"/>
                      <a:pt x="397" y="31"/>
                      <a:pt x="445" y="31"/>
                    </a:cubicBezTo>
                    <a:cubicBezTo>
                      <a:pt x="538" y="31"/>
                      <a:pt x="610" y="103"/>
                      <a:pt x="610" y="196"/>
                    </a:cubicBezTo>
                    <a:cubicBezTo>
                      <a:pt x="610" y="207"/>
                      <a:pt x="617" y="213"/>
                      <a:pt x="628" y="213"/>
                    </a:cubicBezTo>
                    <a:cubicBezTo>
                      <a:pt x="679" y="213"/>
                      <a:pt x="721" y="255"/>
                      <a:pt x="721" y="306"/>
                    </a:cubicBezTo>
                    <a:cubicBezTo>
                      <a:pt x="721" y="331"/>
                      <a:pt x="710" y="355"/>
                      <a:pt x="700" y="372"/>
                    </a:cubicBezTo>
                    <a:cubicBezTo>
                      <a:pt x="528" y="372"/>
                      <a:pt x="528" y="372"/>
                      <a:pt x="528" y="372"/>
                    </a:cubicBezTo>
                    <a:cubicBezTo>
                      <a:pt x="517" y="372"/>
                      <a:pt x="510" y="379"/>
                      <a:pt x="510" y="389"/>
                    </a:cubicBezTo>
                    <a:cubicBezTo>
                      <a:pt x="510" y="396"/>
                      <a:pt x="517" y="403"/>
                      <a:pt x="528" y="403"/>
                    </a:cubicBezTo>
                    <a:lnTo>
                      <a:pt x="528" y="403"/>
                    </a:lnTo>
                    <a:cubicBezTo>
                      <a:pt x="707" y="403"/>
                      <a:pt x="707" y="403"/>
                      <a:pt x="707" y="403"/>
                    </a:cubicBezTo>
                    <a:cubicBezTo>
                      <a:pt x="710" y="403"/>
                      <a:pt x="714" y="403"/>
                      <a:pt x="717" y="399"/>
                    </a:cubicBezTo>
                    <a:cubicBezTo>
                      <a:pt x="738" y="375"/>
                      <a:pt x="752" y="341"/>
                      <a:pt x="752" y="306"/>
                    </a:cubicBezTo>
                    <a:cubicBezTo>
                      <a:pt x="752" y="241"/>
                      <a:pt x="703" y="189"/>
                      <a:pt x="641" y="182"/>
                    </a:cubicBezTo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" name="Google Shape;591;p59">
                <a:extLst>
                  <a:ext uri="{FF2B5EF4-FFF2-40B4-BE49-F238E27FC236}">
                    <a16:creationId xmlns:a16="http://schemas.microsoft.com/office/drawing/2014/main" id="{958360E0-CF95-1D86-13DB-BC5CB990A19D}"/>
                  </a:ext>
                </a:extLst>
              </p:cNvPr>
              <p:cNvSpPr/>
              <p:nvPr/>
            </p:nvSpPr>
            <p:spPr>
              <a:xfrm>
                <a:off x="1366838" y="3262702"/>
                <a:ext cx="120650" cy="100012"/>
              </a:xfrm>
              <a:custGeom>
                <a:avLst/>
                <a:gdLst/>
                <a:ahLst/>
                <a:cxnLst/>
                <a:rect l="l" t="t" r="r" b="b"/>
                <a:pathLst>
                  <a:path w="335" h="280" extrusionOk="0">
                    <a:moveTo>
                      <a:pt x="323" y="7"/>
                    </a:moveTo>
                    <a:lnTo>
                      <a:pt x="323" y="7"/>
                    </a:lnTo>
                    <a:cubicBezTo>
                      <a:pt x="317" y="0"/>
                      <a:pt x="306" y="3"/>
                      <a:pt x="303" y="10"/>
                    </a:cubicBezTo>
                    <a:cubicBezTo>
                      <a:pt x="144" y="241"/>
                      <a:pt x="144" y="241"/>
                      <a:pt x="144" y="241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41"/>
                      <a:pt x="13" y="141"/>
                      <a:pt x="6" y="148"/>
                    </a:cubicBezTo>
                    <a:cubicBezTo>
                      <a:pt x="0" y="155"/>
                      <a:pt x="3" y="165"/>
                      <a:pt x="10" y="172"/>
                    </a:cubicBezTo>
                    <a:cubicBezTo>
                      <a:pt x="137" y="276"/>
                      <a:pt x="137" y="276"/>
                      <a:pt x="137" y="276"/>
                    </a:cubicBezTo>
                    <a:cubicBezTo>
                      <a:pt x="141" y="276"/>
                      <a:pt x="144" y="279"/>
                      <a:pt x="148" y="279"/>
                    </a:cubicBezTo>
                    <a:lnTo>
                      <a:pt x="148" y="279"/>
                    </a:lnTo>
                    <a:cubicBezTo>
                      <a:pt x="155" y="279"/>
                      <a:pt x="158" y="276"/>
                      <a:pt x="158" y="272"/>
                    </a:cubicBezTo>
                    <a:cubicBezTo>
                      <a:pt x="327" y="28"/>
                      <a:pt x="327" y="28"/>
                      <a:pt x="327" y="28"/>
                    </a:cubicBezTo>
                    <a:cubicBezTo>
                      <a:pt x="334" y="21"/>
                      <a:pt x="330" y="10"/>
                      <a:pt x="323" y="7"/>
                    </a:cubicBezTo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2" name="Google Shape;592;p59">
              <a:extLst>
                <a:ext uri="{FF2B5EF4-FFF2-40B4-BE49-F238E27FC236}">
                  <a16:creationId xmlns:a16="http://schemas.microsoft.com/office/drawing/2014/main" id="{8415D2E3-F919-4BE2-D590-398EA6C3D02F}"/>
                </a:ext>
              </a:extLst>
            </p:cNvPr>
            <p:cNvGrpSpPr/>
            <p:nvPr/>
          </p:nvGrpSpPr>
          <p:grpSpPr>
            <a:xfrm>
              <a:off x="3218635" y="4322518"/>
              <a:ext cx="445700" cy="279495"/>
              <a:chOff x="2706811" y="3737337"/>
              <a:chExt cx="447868" cy="342121"/>
            </a:xfrm>
          </p:grpSpPr>
          <p:sp>
            <p:nvSpPr>
              <p:cNvPr id="54" name="Google Shape;593;p59">
                <a:extLst>
                  <a:ext uri="{FF2B5EF4-FFF2-40B4-BE49-F238E27FC236}">
                    <a16:creationId xmlns:a16="http://schemas.microsoft.com/office/drawing/2014/main" id="{37208018-1648-A38C-378C-7F3203FAF80F}"/>
                  </a:ext>
                </a:extLst>
              </p:cNvPr>
              <p:cNvSpPr/>
              <p:nvPr/>
            </p:nvSpPr>
            <p:spPr>
              <a:xfrm>
                <a:off x="2912395" y="3891540"/>
                <a:ext cx="242284" cy="187918"/>
              </a:xfrm>
              <a:custGeom>
                <a:avLst/>
                <a:gdLst/>
                <a:ahLst/>
                <a:cxnLst/>
                <a:rect l="l" t="t" r="r" b="b"/>
                <a:pathLst>
                  <a:path w="242284" h="187918" extrusionOk="0">
                    <a:moveTo>
                      <a:pt x="79745" y="138839"/>
                    </a:moveTo>
                    <a:lnTo>
                      <a:pt x="24446" y="83478"/>
                    </a:lnTo>
                    <a:lnTo>
                      <a:pt x="0" y="107924"/>
                    </a:lnTo>
                    <a:lnTo>
                      <a:pt x="79745" y="187918"/>
                    </a:lnTo>
                    <a:lnTo>
                      <a:pt x="242285" y="24446"/>
                    </a:lnTo>
                    <a:lnTo>
                      <a:pt x="217776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594;p59">
                <a:extLst>
                  <a:ext uri="{FF2B5EF4-FFF2-40B4-BE49-F238E27FC236}">
                    <a16:creationId xmlns:a16="http://schemas.microsoft.com/office/drawing/2014/main" id="{6BF7029F-69EE-37B2-C33E-DB7DFB8ADD94}"/>
                  </a:ext>
                </a:extLst>
              </p:cNvPr>
              <p:cNvSpPr/>
              <p:nvPr/>
            </p:nvSpPr>
            <p:spPr>
              <a:xfrm>
                <a:off x="2706811" y="3737337"/>
                <a:ext cx="419131" cy="34647"/>
              </a:xfrm>
              <a:custGeom>
                <a:avLst/>
                <a:gdLst/>
                <a:ahLst/>
                <a:cxnLst/>
                <a:rect l="l" t="t" r="r" b="b"/>
                <a:pathLst>
                  <a:path w="419131" h="34647" extrusionOk="0">
                    <a:moveTo>
                      <a:pt x="0" y="0"/>
                    </a:moveTo>
                    <a:lnTo>
                      <a:pt x="419131" y="0"/>
                    </a:lnTo>
                    <a:lnTo>
                      <a:pt x="419131" y="34648"/>
                    </a:lnTo>
                    <a:lnTo>
                      <a:pt x="0" y="34648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595;p59">
                <a:extLst>
                  <a:ext uri="{FF2B5EF4-FFF2-40B4-BE49-F238E27FC236}">
                    <a16:creationId xmlns:a16="http://schemas.microsoft.com/office/drawing/2014/main" id="{B43D7B02-C4DC-10F9-3590-511AAE790DDE}"/>
                  </a:ext>
                </a:extLst>
              </p:cNvPr>
              <p:cNvSpPr/>
              <p:nvPr/>
            </p:nvSpPr>
            <p:spPr>
              <a:xfrm>
                <a:off x="2706811" y="3825977"/>
                <a:ext cx="419131" cy="34647"/>
              </a:xfrm>
              <a:custGeom>
                <a:avLst/>
                <a:gdLst/>
                <a:ahLst/>
                <a:cxnLst/>
                <a:rect l="l" t="t" r="r" b="b"/>
                <a:pathLst>
                  <a:path w="419131" h="34647" extrusionOk="0">
                    <a:moveTo>
                      <a:pt x="0" y="0"/>
                    </a:moveTo>
                    <a:lnTo>
                      <a:pt x="419131" y="0"/>
                    </a:lnTo>
                    <a:lnTo>
                      <a:pt x="419131" y="34648"/>
                    </a:lnTo>
                    <a:lnTo>
                      <a:pt x="0" y="34648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596;p59">
                <a:extLst>
                  <a:ext uri="{FF2B5EF4-FFF2-40B4-BE49-F238E27FC236}">
                    <a16:creationId xmlns:a16="http://schemas.microsoft.com/office/drawing/2014/main" id="{F142F3B5-6F6F-6487-A95B-B6A1B6C53271}"/>
                  </a:ext>
                </a:extLst>
              </p:cNvPr>
              <p:cNvSpPr/>
              <p:nvPr/>
            </p:nvSpPr>
            <p:spPr>
              <a:xfrm>
                <a:off x="2706811" y="3914618"/>
                <a:ext cx="239174" cy="34647"/>
              </a:xfrm>
              <a:custGeom>
                <a:avLst/>
                <a:gdLst/>
                <a:ahLst/>
                <a:cxnLst/>
                <a:rect l="l" t="t" r="r" b="b"/>
                <a:pathLst>
                  <a:path w="239174" h="34647" extrusionOk="0">
                    <a:moveTo>
                      <a:pt x="0" y="0"/>
                    </a:moveTo>
                    <a:lnTo>
                      <a:pt x="239175" y="0"/>
                    </a:lnTo>
                    <a:lnTo>
                      <a:pt x="239175" y="34648"/>
                    </a:lnTo>
                    <a:lnTo>
                      <a:pt x="0" y="34648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867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53" name="Picture 52" descr="A white circle with arrows&#10;&#10;Description automatically generated">
              <a:extLst>
                <a:ext uri="{FF2B5EF4-FFF2-40B4-BE49-F238E27FC236}">
                  <a16:creationId xmlns:a16="http://schemas.microsoft.com/office/drawing/2014/main" id="{8898BE04-7AF9-7725-A619-0E6F39096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96829" y="5550658"/>
              <a:ext cx="591119" cy="442415"/>
            </a:xfrm>
            <a:prstGeom prst="rect">
              <a:avLst/>
            </a:prstGeom>
          </p:spPr>
        </p:pic>
      </p:grpSp>
      <p:sp>
        <p:nvSpPr>
          <p:cNvPr id="3" name="Google Shape;1709;p4">
            <a:extLst>
              <a:ext uri="{FF2B5EF4-FFF2-40B4-BE49-F238E27FC236}">
                <a16:creationId xmlns:a16="http://schemas.microsoft.com/office/drawing/2014/main" id="{AFE4C774-41FB-5938-1B75-02B9A1A59DAF}"/>
              </a:ext>
            </a:extLst>
          </p:cNvPr>
          <p:cNvSpPr txBox="1"/>
          <p:nvPr/>
        </p:nvSpPr>
        <p:spPr>
          <a:xfrm>
            <a:off x="232553" y="308234"/>
            <a:ext cx="5495542" cy="1231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t" anchorCtr="0">
            <a:spAutoFit/>
          </a:bodyPr>
          <a:lstStyle/>
          <a:p>
            <a:r>
              <a:rPr lang="en-GB" sz="3600" b="1" dirty="0">
                <a:solidFill>
                  <a:srgbClr val="000000"/>
                </a:solidFill>
                <a:cs typeface="Arial"/>
              </a:rPr>
              <a:t>Frontline Digitisation </a:t>
            </a:r>
          </a:p>
          <a:p>
            <a:r>
              <a:rPr lang="en-GB" sz="3600" b="1" dirty="0">
                <a:solidFill>
                  <a:srgbClr val="000000"/>
                </a:solidFill>
                <a:cs typeface="Arial"/>
              </a:rPr>
              <a:t>Programme </a:t>
            </a:r>
            <a:r>
              <a:rPr lang="en-GB" sz="2400" b="1" dirty="0">
                <a:solidFill>
                  <a:srgbClr val="000000"/>
                </a:solidFill>
                <a:cs typeface="Arial"/>
              </a:rPr>
              <a:t>– in 3 sentenc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0762B2-2EA8-F56E-5064-89D608DA1AD1}"/>
              </a:ext>
            </a:extLst>
          </p:cNvPr>
          <p:cNvSpPr txBox="1"/>
          <p:nvPr/>
        </p:nvSpPr>
        <p:spPr>
          <a:xfrm>
            <a:off x="236689" y="1930842"/>
            <a:ext cx="5201209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 b="1" dirty="0">
                <a:solidFill>
                  <a:srgbClr val="231F20"/>
                </a:solidFill>
                <a:cs typeface="Arial"/>
              </a:rPr>
              <a:t>£2bn</a:t>
            </a:r>
            <a:r>
              <a:rPr lang="en-US" sz="2400" dirty="0">
                <a:solidFill>
                  <a:srgbClr val="231F20"/>
                </a:solidFill>
                <a:cs typeface="Arial"/>
              </a:rPr>
              <a:t> Digital Transformation </a:t>
            </a:r>
          </a:p>
          <a:p>
            <a:r>
              <a:rPr lang="en-US" sz="2400" dirty="0">
                <a:solidFill>
                  <a:srgbClr val="231F20"/>
                </a:solidFill>
                <a:cs typeface="Arial"/>
              </a:rPr>
              <a:t> </a:t>
            </a:r>
            <a:r>
              <a:rPr lang="en-US" sz="2400" dirty="0" err="1">
                <a:solidFill>
                  <a:srgbClr val="231F20"/>
                </a:solidFill>
                <a:cs typeface="Arial"/>
              </a:rPr>
              <a:t>Programme</a:t>
            </a:r>
            <a:endParaRPr lang="en-US" sz="2400" dirty="0">
              <a:solidFill>
                <a:srgbClr val="231F20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400" dirty="0">
              <a:solidFill>
                <a:srgbClr val="231F20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2400" dirty="0">
                <a:solidFill>
                  <a:srgbClr val="231F20"/>
                </a:solidFill>
                <a:cs typeface="Arial"/>
              </a:rPr>
              <a:t>Part of the </a:t>
            </a:r>
            <a:r>
              <a:rPr lang="en-US" sz="2400" b="1" dirty="0">
                <a:solidFill>
                  <a:srgbClr val="231F20"/>
                </a:solidFill>
                <a:cs typeface="Arial"/>
              </a:rPr>
              <a:t>Government's </a:t>
            </a:r>
            <a:endParaRPr lang="en-US" b="1" dirty="0">
              <a:solidFill>
                <a:srgbClr val="FFFFFF"/>
              </a:solidFill>
              <a:cs typeface="Arial"/>
            </a:endParaRPr>
          </a:p>
          <a:p>
            <a:r>
              <a:rPr lang="en-US" sz="2400" b="1" dirty="0">
                <a:solidFill>
                  <a:srgbClr val="231F20"/>
                </a:solidFill>
                <a:cs typeface="Arial"/>
              </a:rPr>
              <a:t> Major Projects Portfolio</a:t>
            </a:r>
            <a:endParaRPr lang="en-US" b="1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400" dirty="0">
              <a:solidFill>
                <a:srgbClr val="231F20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2400" dirty="0">
                <a:solidFill>
                  <a:srgbClr val="231F20"/>
                </a:solidFill>
                <a:cs typeface="Arial"/>
              </a:rPr>
              <a:t>Supporting </a:t>
            </a:r>
            <a:r>
              <a:rPr lang="en-US" sz="2400" b="1" dirty="0">
                <a:solidFill>
                  <a:srgbClr val="231F20"/>
                </a:solidFill>
                <a:cs typeface="Arial"/>
              </a:rPr>
              <a:t>all Trusts in England</a:t>
            </a:r>
            <a:r>
              <a:rPr lang="en-US" sz="2400" dirty="0">
                <a:solidFill>
                  <a:srgbClr val="231F20"/>
                </a:solidFill>
                <a:cs typeface="Arial"/>
              </a:rPr>
              <a:t> to implement and </a:t>
            </a:r>
            <a:r>
              <a:rPr lang="en-US" sz="2400" dirty="0" err="1">
                <a:solidFill>
                  <a:srgbClr val="231F20"/>
                </a:solidFill>
                <a:cs typeface="Arial"/>
              </a:rPr>
              <a:t>optimise</a:t>
            </a:r>
            <a:r>
              <a:rPr lang="en-US" sz="2400" dirty="0">
                <a:solidFill>
                  <a:srgbClr val="231F20"/>
                </a:solidFill>
                <a:cs typeface="Arial"/>
              </a:rPr>
              <a:t> Electronic Patients Records (EPRs)</a:t>
            </a:r>
          </a:p>
        </p:txBody>
      </p:sp>
    </p:spTree>
    <p:extLst>
      <p:ext uri="{BB962C8B-B14F-4D97-AF65-F5344CB8AC3E}">
        <p14:creationId xmlns:p14="http://schemas.microsoft.com/office/powerpoint/2010/main" val="18098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85E57-31EE-D4F3-93DF-31C8F2DCBFBB}"/>
              </a:ext>
            </a:extLst>
          </p:cNvPr>
          <p:cNvSpPr txBox="1"/>
          <p:nvPr/>
        </p:nvSpPr>
        <p:spPr>
          <a:xfrm>
            <a:off x="4077225" y="3063281"/>
            <a:ext cx="405068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cs typeface="Arial"/>
              </a:rPr>
              <a:t>Placeholder for FDSO Video</a:t>
            </a:r>
          </a:p>
        </p:txBody>
      </p:sp>
    </p:spTree>
    <p:extLst>
      <p:ext uri="{BB962C8B-B14F-4D97-AF65-F5344CB8AC3E}">
        <p14:creationId xmlns:p14="http://schemas.microsoft.com/office/powerpoint/2010/main" val="30284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C7F96F18-39ED-A850-D2B6-C30FEC51732F}"/>
              </a:ext>
            </a:extLst>
          </p:cNvPr>
          <p:cNvSpPr/>
          <p:nvPr/>
        </p:nvSpPr>
        <p:spPr>
          <a:xfrm>
            <a:off x="232778" y="5268115"/>
            <a:ext cx="6700158" cy="1099209"/>
          </a:xfrm>
          <a:prstGeom prst="roundRect">
            <a:avLst/>
          </a:prstGeom>
          <a:solidFill>
            <a:schemeClr val="tx2"/>
          </a:solidFill>
          <a:ln>
            <a:solidFill>
              <a:srgbClr val="0B5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graphicFrame>
        <p:nvGraphicFramePr>
          <p:cNvPr id="72" name="Object 71" hidden="1">
            <a:extLst>
              <a:ext uri="{FF2B5EF4-FFF2-40B4-BE49-F238E27FC236}">
                <a16:creationId xmlns:a16="http://schemas.microsoft.com/office/drawing/2014/main" id="{21E4C500-0A6D-464C-BE72-A4C75230D2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2" name="Object 71" hidden="1">
                        <a:extLst>
                          <a:ext uri="{FF2B5EF4-FFF2-40B4-BE49-F238E27FC236}">
                            <a16:creationId xmlns:a16="http://schemas.microsoft.com/office/drawing/2014/main" id="{21E4C500-0A6D-464C-BE72-A4C75230D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3" name="Google Shape;663;p32"/>
          <p:cNvSpPr txBox="1">
            <a:spLocks noGrp="1"/>
          </p:cNvSpPr>
          <p:nvPr>
            <p:ph type="title" idx="4294967295"/>
          </p:nvPr>
        </p:nvSpPr>
        <p:spPr>
          <a:xfrm>
            <a:off x="225778" y="209374"/>
            <a:ext cx="12192000" cy="70485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GB" sz="3600" b="1" dirty="0"/>
              <a:t>Service Catalogu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B97AA87-F518-BE60-D713-620A2A8E19E1}"/>
              </a:ext>
            </a:extLst>
          </p:cNvPr>
          <p:cNvSpPr/>
          <p:nvPr/>
        </p:nvSpPr>
        <p:spPr>
          <a:xfrm>
            <a:off x="509973" y="4387136"/>
            <a:ext cx="1450212" cy="74532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er-to-Peer Partnership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2BE3C15-A6CC-B3CA-8A7E-F370A3B56A2F}"/>
              </a:ext>
            </a:extLst>
          </p:cNvPr>
          <p:cNvSpPr/>
          <p:nvPr/>
        </p:nvSpPr>
        <p:spPr>
          <a:xfrm>
            <a:off x="502091" y="2557144"/>
            <a:ext cx="1450212" cy="74532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lier-based Peer Network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0800C01-CF88-215A-B348-815098241948}"/>
              </a:ext>
            </a:extLst>
          </p:cNvPr>
          <p:cNvSpPr/>
          <p:nvPr/>
        </p:nvSpPr>
        <p:spPr>
          <a:xfrm>
            <a:off x="502091" y="3485102"/>
            <a:ext cx="1450212" cy="74532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curement Peer Network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2635888-1B45-A2D2-7B2D-04FF9F105D6D}"/>
              </a:ext>
            </a:extLst>
          </p:cNvPr>
          <p:cNvSpPr/>
          <p:nvPr/>
        </p:nvSpPr>
        <p:spPr>
          <a:xfrm>
            <a:off x="4403322" y="4396639"/>
            <a:ext cx="1450212" cy="745324"/>
          </a:xfrm>
          <a:prstGeom prst="roundRect">
            <a:avLst/>
          </a:prstGeom>
          <a:solidFill>
            <a:srgbClr val="005EB8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ueprint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EC981BD-34B4-9FF9-D8E8-318481AE5EA4}"/>
              </a:ext>
            </a:extLst>
          </p:cNvPr>
          <p:cNvSpPr/>
          <p:nvPr/>
        </p:nvSpPr>
        <p:spPr>
          <a:xfrm>
            <a:off x="8284555" y="2559667"/>
            <a:ext cx="1450800" cy="745324"/>
          </a:xfrm>
          <a:prstGeom prst="roundRect">
            <a:avLst/>
          </a:prstGeom>
          <a:solidFill>
            <a:srgbClr val="00A8D7"/>
          </a:solidFill>
          <a:ln>
            <a:solidFill>
              <a:srgbClr val="E1F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lf-learning Toolkit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6D90738-78BA-AB8F-0114-8F19B8A5284F}"/>
              </a:ext>
            </a:extLst>
          </p:cNvPr>
          <p:cNvSpPr/>
          <p:nvPr/>
        </p:nvSpPr>
        <p:spPr>
          <a:xfrm>
            <a:off x="8284555" y="4404784"/>
            <a:ext cx="1450800" cy="745324"/>
          </a:xfrm>
          <a:prstGeom prst="roundRect">
            <a:avLst/>
          </a:prstGeom>
          <a:solidFill>
            <a:srgbClr val="00A8D7"/>
          </a:solidFill>
          <a:ln>
            <a:solidFill>
              <a:srgbClr val="E1F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 Lab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9F5A56D-0C03-4EF4-16BF-47F4408F651F}"/>
              </a:ext>
            </a:extLst>
          </p:cNvPr>
          <p:cNvSpPr/>
          <p:nvPr/>
        </p:nvSpPr>
        <p:spPr>
          <a:xfrm>
            <a:off x="4393323" y="2552100"/>
            <a:ext cx="1450212" cy="745324"/>
          </a:xfrm>
          <a:prstGeom prst="roundRect">
            <a:avLst/>
          </a:prstGeom>
          <a:solidFill>
            <a:srgbClr val="005EB8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idance and Documents (Library)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DB37614-F62F-9862-6394-03AC46BF6BA8}"/>
              </a:ext>
            </a:extLst>
          </p:cNvPr>
          <p:cNvSpPr/>
          <p:nvPr/>
        </p:nvSpPr>
        <p:spPr>
          <a:xfrm>
            <a:off x="503666" y="1671089"/>
            <a:ext cx="1450212" cy="74532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unity of Practice Forum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6A34695-7008-2205-49E9-06BEFB93F189}"/>
              </a:ext>
            </a:extLst>
          </p:cNvPr>
          <p:cNvSpPr/>
          <p:nvPr/>
        </p:nvSpPr>
        <p:spPr>
          <a:xfrm>
            <a:off x="4385845" y="1680614"/>
            <a:ext cx="1450212" cy="745324"/>
          </a:xfrm>
          <a:prstGeom prst="roundRect">
            <a:avLst/>
          </a:prstGeom>
          <a:solidFill>
            <a:srgbClr val="005EB8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inars, Events and Drop-in Session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D391AD7-C697-5DC2-3E9C-F59D2892CF63}"/>
              </a:ext>
            </a:extLst>
          </p:cNvPr>
          <p:cNvSpPr/>
          <p:nvPr/>
        </p:nvSpPr>
        <p:spPr>
          <a:xfrm>
            <a:off x="8284555" y="1678098"/>
            <a:ext cx="1450800" cy="745324"/>
          </a:xfrm>
          <a:prstGeom prst="roundRect">
            <a:avLst/>
          </a:prstGeom>
          <a:solidFill>
            <a:srgbClr val="00A8D7"/>
          </a:solidFill>
          <a:ln>
            <a:solidFill>
              <a:srgbClr val="E1F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bject Matter Expert Support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FAB73B3-D656-406D-B4B4-743E7668F919}"/>
              </a:ext>
            </a:extLst>
          </p:cNvPr>
          <p:cNvSpPr/>
          <p:nvPr/>
        </p:nvSpPr>
        <p:spPr>
          <a:xfrm>
            <a:off x="8284555" y="3479442"/>
            <a:ext cx="1450800" cy="745324"/>
          </a:xfrm>
          <a:prstGeom prst="roundRect">
            <a:avLst/>
          </a:prstGeom>
          <a:solidFill>
            <a:srgbClr val="00A8D7"/>
          </a:solidFill>
          <a:ln>
            <a:solidFill>
              <a:srgbClr val="E1F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rgeted Intervention Support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51BF66A-11BB-972A-215B-E5FE2980644C}"/>
              </a:ext>
            </a:extLst>
          </p:cNvPr>
          <p:cNvSpPr/>
          <p:nvPr/>
        </p:nvSpPr>
        <p:spPr>
          <a:xfrm>
            <a:off x="4404967" y="3471874"/>
            <a:ext cx="1450212" cy="745324"/>
          </a:xfrm>
          <a:prstGeom prst="roundRect">
            <a:avLst/>
          </a:prstGeom>
          <a:solidFill>
            <a:srgbClr val="005EB8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ssons Learnt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4F8B6C3-D713-7D59-991D-505C563083BC}"/>
              </a:ext>
            </a:extLst>
          </p:cNvPr>
          <p:cNvSpPr/>
          <p:nvPr/>
        </p:nvSpPr>
        <p:spPr>
          <a:xfrm>
            <a:off x="402268" y="5622232"/>
            <a:ext cx="1526413" cy="692322"/>
          </a:xfrm>
          <a:prstGeom prst="roundRect">
            <a:avLst/>
          </a:prstGeom>
          <a:solidFill>
            <a:srgbClr val="36BCEF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 Board Programme – NHS Provider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Flowchart: Alternative Process 1">
            <a:extLst>
              <a:ext uri="{FF2B5EF4-FFF2-40B4-BE49-F238E27FC236}">
                <a16:creationId xmlns:a16="http://schemas.microsoft.com/office/drawing/2014/main" id="{3821A3AB-46BA-0257-2621-89E85375290F}"/>
              </a:ext>
            </a:extLst>
          </p:cNvPr>
          <p:cNvSpPr/>
          <p:nvPr/>
        </p:nvSpPr>
        <p:spPr>
          <a:xfrm>
            <a:off x="1960184" y="4387636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We coordinate setting up 1-2-1 partnerships between Trusts on their EPR journey.</a:t>
            </a:r>
          </a:p>
        </p:txBody>
      </p:sp>
      <p:sp>
        <p:nvSpPr>
          <p:cNvPr id="3" name="Flowchart: Alternative Process 2">
            <a:extLst>
              <a:ext uri="{FF2B5EF4-FFF2-40B4-BE49-F238E27FC236}">
                <a16:creationId xmlns:a16="http://schemas.microsoft.com/office/drawing/2014/main" id="{466344F9-FB80-5A89-ED7E-76E3EF0977B7}"/>
              </a:ext>
            </a:extLst>
          </p:cNvPr>
          <p:cNvSpPr/>
          <p:nvPr/>
        </p:nvSpPr>
        <p:spPr>
          <a:xfrm>
            <a:off x="1952304" y="2566454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Networks based on shared EPR supplier to enable Trusts to : connect, share and learn from each other.</a:t>
            </a:r>
          </a:p>
        </p:txBody>
      </p:sp>
      <p:sp>
        <p:nvSpPr>
          <p:cNvPr id="4" name="Flowchart: Alternative Process 3">
            <a:extLst>
              <a:ext uri="{FF2B5EF4-FFF2-40B4-BE49-F238E27FC236}">
                <a16:creationId xmlns:a16="http://schemas.microsoft.com/office/drawing/2014/main" id="{34D203A0-C358-2647-A635-C611F6E9AB33}"/>
              </a:ext>
            </a:extLst>
          </p:cNvPr>
          <p:cNvSpPr/>
          <p:nvPr/>
        </p:nvSpPr>
        <p:spPr>
          <a:xfrm>
            <a:off x="1952304" y="3499457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A dedicated network for Trusts who are at Procurement Stage to enable sharing of key artefacts and targeted guidance.</a:t>
            </a:r>
          </a:p>
        </p:txBody>
      </p:sp>
      <p:pic>
        <p:nvPicPr>
          <p:cNvPr id="6" name="Graphic 5" descr="Classroom outline">
            <a:extLst>
              <a:ext uri="{FF2B5EF4-FFF2-40B4-BE49-F238E27FC236}">
                <a16:creationId xmlns:a16="http://schemas.microsoft.com/office/drawing/2014/main" id="{BA66CF53-380D-42D1-F49C-1CACF00E4F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70935" y="904703"/>
            <a:ext cx="544787" cy="544787"/>
          </a:xfrm>
          <a:prstGeom prst="rect">
            <a:avLst/>
          </a:prstGeom>
        </p:spPr>
      </p:pic>
      <p:pic>
        <p:nvPicPr>
          <p:cNvPr id="8" name="Graphic 7" descr="Handshake outline">
            <a:extLst>
              <a:ext uri="{FF2B5EF4-FFF2-40B4-BE49-F238E27FC236}">
                <a16:creationId xmlns:a16="http://schemas.microsoft.com/office/drawing/2014/main" id="{F1BEAA86-B1D6-A744-CC0D-7724EF2D43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7392" y="891274"/>
            <a:ext cx="601513" cy="601513"/>
          </a:xfrm>
          <a:prstGeom prst="rect">
            <a:avLst/>
          </a:prstGeom>
        </p:spPr>
      </p:pic>
      <p:sp>
        <p:nvSpPr>
          <p:cNvPr id="23" name="Flowchart: Alternative Process 22">
            <a:extLst>
              <a:ext uri="{FF2B5EF4-FFF2-40B4-BE49-F238E27FC236}">
                <a16:creationId xmlns:a16="http://schemas.microsoft.com/office/drawing/2014/main" id="{53D4C578-664C-776F-319A-BF7F3A229D45}"/>
              </a:ext>
            </a:extLst>
          </p:cNvPr>
          <p:cNvSpPr/>
          <p:nvPr/>
        </p:nvSpPr>
        <p:spPr>
          <a:xfrm>
            <a:off x="5855107" y="4401491"/>
            <a:ext cx="2085642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>
                <a:solidFill>
                  <a:schemeClr val="bg1"/>
                </a:solidFill>
                <a:latin typeface="Arial"/>
                <a:cs typeface="Arial"/>
              </a:rPr>
              <a:t>Step-by-step guides from other organisations showcasing successful projects on various topic areas. </a:t>
            </a:r>
          </a:p>
        </p:txBody>
      </p:sp>
      <p:sp>
        <p:nvSpPr>
          <p:cNvPr id="24" name="Flowchart: Alternative Process 23">
            <a:extLst>
              <a:ext uri="{FF2B5EF4-FFF2-40B4-BE49-F238E27FC236}">
                <a16:creationId xmlns:a16="http://schemas.microsoft.com/office/drawing/2014/main" id="{CE0FCEDF-FF01-6626-B3C4-B1E0F1C489C3}"/>
              </a:ext>
            </a:extLst>
          </p:cNvPr>
          <p:cNvSpPr/>
          <p:nvPr/>
        </p:nvSpPr>
        <p:spPr>
          <a:xfrm>
            <a:off x="9734769" y="1673878"/>
            <a:ext cx="1944000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r>
              <a:rPr lang="en-US" sz="1000">
                <a:ea typeface="+mn-lt"/>
                <a:cs typeface="+mn-lt"/>
              </a:rPr>
              <a:t>Upon request, experts from the central team can support and work alongside provider teams on defined work packages.</a:t>
            </a:r>
            <a:endParaRPr lang="en-US" sz="1000">
              <a:cs typeface="Arial"/>
            </a:endParaRPr>
          </a:p>
        </p:txBody>
      </p:sp>
      <p:sp>
        <p:nvSpPr>
          <p:cNvPr id="25" name="Flowchart: Alternative Process 24">
            <a:extLst>
              <a:ext uri="{FF2B5EF4-FFF2-40B4-BE49-F238E27FC236}">
                <a16:creationId xmlns:a16="http://schemas.microsoft.com/office/drawing/2014/main" id="{7F350F87-7D6E-351C-A121-78B52E7AA995}"/>
              </a:ext>
            </a:extLst>
          </p:cNvPr>
          <p:cNvSpPr/>
          <p:nvPr/>
        </p:nvSpPr>
        <p:spPr>
          <a:xfrm>
            <a:off x="1953878" y="1677876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Open forum on </a:t>
            </a:r>
            <a:r>
              <a:rPr lang="en-GB" sz="1000" err="1"/>
              <a:t>FutureNHS</a:t>
            </a:r>
            <a:r>
              <a:rPr lang="en-GB" sz="1000"/>
              <a:t> Platform which allows users to connect, ask questions, respond, and discus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73ADB3B-30A2-5570-2AF7-28304661258F}"/>
              </a:ext>
            </a:extLst>
          </p:cNvPr>
          <p:cNvSpPr txBox="1"/>
          <p:nvPr/>
        </p:nvSpPr>
        <p:spPr>
          <a:xfrm>
            <a:off x="888513" y="1149782"/>
            <a:ext cx="3191561" cy="34887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r>
              <a:rPr lang="en-GB" sz="1450" b="1">
                <a:solidFill>
                  <a:schemeClr val="bg1"/>
                </a:solidFill>
              </a:rPr>
              <a:t>Connecting with Each Other</a:t>
            </a:r>
            <a:endParaRPr lang="en-GB" sz="145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BBDBC9-A61F-864B-FA6F-EC1D6D5833F7}"/>
              </a:ext>
            </a:extLst>
          </p:cNvPr>
          <p:cNvSpPr txBox="1"/>
          <p:nvPr/>
        </p:nvSpPr>
        <p:spPr>
          <a:xfrm>
            <a:off x="5024647" y="1141375"/>
            <a:ext cx="3133063" cy="3181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50" b="1">
                <a:solidFill>
                  <a:schemeClr val="bg1"/>
                </a:solidFill>
              </a:rPr>
              <a:t>Sharing Best Practic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B5B82A-04FA-A210-2321-50091C52CD81}"/>
              </a:ext>
            </a:extLst>
          </p:cNvPr>
          <p:cNvSpPr txBox="1"/>
          <p:nvPr/>
        </p:nvSpPr>
        <p:spPr>
          <a:xfrm>
            <a:off x="8651051" y="1118833"/>
            <a:ext cx="3163558" cy="3181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50" b="1">
                <a:solidFill>
                  <a:schemeClr val="bg1"/>
                </a:solidFill>
              </a:rPr>
              <a:t>Upskilling &amp; Actionable Learning</a:t>
            </a:r>
            <a:endParaRPr lang="en-GB" sz="1450" b="1">
              <a:solidFill>
                <a:schemeClr val="bg1"/>
              </a:solidFill>
              <a:cs typeface="Arial"/>
            </a:endParaRPr>
          </a:p>
        </p:txBody>
      </p:sp>
      <p:pic>
        <p:nvPicPr>
          <p:cNvPr id="30" name="Graphic 29" descr="Share outline">
            <a:extLst>
              <a:ext uri="{FF2B5EF4-FFF2-40B4-BE49-F238E27FC236}">
                <a16:creationId xmlns:a16="http://schemas.microsoft.com/office/drawing/2014/main" id="{5F0E62DE-9474-4AD0-F556-F57EF312C1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11563" y="793762"/>
            <a:ext cx="720541" cy="720541"/>
          </a:xfrm>
          <a:prstGeom prst="rect">
            <a:avLst/>
          </a:prstGeom>
        </p:spPr>
      </p:pic>
      <p:sp>
        <p:nvSpPr>
          <p:cNvPr id="5" name="Flowchart: Alternative Process 4">
            <a:extLst>
              <a:ext uri="{FF2B5EF4-FFF2-40B4-BE49-F238E27FC236}">
                <a16:creationId xmlns:a16="http://schemas.microsoft.com/office/drawing/2014/main" id="{16CBC82C-FFB4-5AF7-28C6-2F342D7962A2}"/>
              </a:ext>
            </a:extLst>
          </p:cNvPr>
          <p:cNvSpPr/>
          <p:nvPr/>
        </p:nvSpPr>
        <p:spPr>
          <a:xfrm>
            <a:off x="5855107" y="2563800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Best practice, guidance, and other key documents available to view and download.</a:t>
            </a:r>
          </a:p>
        </p:txBody>
      </p:sp>
      <p:sp>
        <p:nvSpPr>
          <p:cNvPr id="7" name="Flowchart: Alternative Process 6">
            <a:extLst>
              <a:ext uri="{FF2B5EF4-FFF2-40B4-BE49-F238E27FC236}">
                <a16:creationId xmlns:a16="http://schemas.microsoft.com/office/drawing/2014/main" id="{4DC779C8-AA47-75E7-7405-F20ABCAD947C}"/>
              </a:ext>
            </a:extLst>
          </p:cNvPr>
          <p:cNvSpPr/>
          <p:nvPr/>
        </p:nvSpPr>
        <p:spPr>
          <a:xfrm>
            <a:off x="5855107" y="3482930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/>
              <a:t>Collation and publication of lessons learnt from previous Trust deployments and central SME’s experiences.</a:t>
            </a:r>
          </a:p>
        </p:txBody>
      </p:sp>
      <p:sp>
        <p:nvSpPr>
          <p:cNvPr id="29" name="Flowchart: Alternative Process 28">
            <a:extLst>
              <a:ext uri="{FF2B5EF4-FFF2-40B4-BE49-F238E27FC236}">
                <a16:creationId xmlns:a16="http://schemas.microsoft.com/office/drawing/2014/main" id="{BDD96AC7-A95A-69AC-60FE-1DAA986E9C28}"/>
              </a:ext>
            </a:extLst>
          </p:cNvPr>
          <p:cNvSpPr/>
          <p:nvPr/>
        </p:nvSpPr>
        <p:spPr>
          <a:xfrm>
            <a:off x="5855107" y="1692314"/>
            <a:ext cx="1899789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Topic-based webinars, events and drop-in sessions run by industry experts and Trusts. Previous recording also available.</a:t>
            </a:r>
          </a:p>
        </p:txBody>
      </p:sp>
      <p:sp>
        <p:nvSpPr>
          <p:cNvPr id="31" name="Flowchart: Alternative Process 30">
            <a:extLst>
              <a:ext uri="{FF2B5EF4-FFF2-40B4-BE49-F238E27FC236}">
                <a16:creationId xmlns:a16="http://schemas.microsoft.com/office/drawing/2014/main" id="{7CDE8393-2BFE-8CDD-523B-C14A71C3A8EA}"/>
              </a:ext>
            </a:extLst>
          </p:cNvPr>
          <p:cNvSpPr/>
          <p:nvPr/>
        </p:nvSpPr>
        <p:spPr>
          <a:xfrm>
            <a:off x="9734769" y="2566454"/>
            <a:ext cx="1944000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Comprehensive self-learning toolkits in areas such as Change Management and Benefits available to view and download.</a:t>
            </a:r>
          </a:p>
        </p:txBody>
      </p:sp>
      <p:sp>
        <p:nvSpPr>
          <p:cNvPr id="32" name="Flowchart: Alternative Process 31">
            <a:extLst>
              <a:ext uri="{FF2B5EF4-FFF2-40B4-BE49-F238E27FC236}">
                <a16:creationId xmlns:a16="http://schemas.microsoft.com/office/drawing/2014/main" id="{D606F4D5-4656-6E59-24D5-C37CA63957E9}"/>
              </a:ext>
            </a:extLst>
          </p:cNvPr>
          <p:cNvSpPr/>
          <p:nvPr/>
        </p:nvSpPr>
        <p:spPr>
          <a:xfrm>
            <a:off x="9734768" y="3482789"/>
            <a:ext cx="1944000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/>
              <a:t>High Priority Intervention Support on a 1-2-1 basis for Trusts.</a:t>
            </a:r>
          </a:p>
        </p:txBody>
      </p:sp>
      <p:sp>
        <p:nvSpPr>
          <p:cNvPr id="33" name="Flowchart: Alternative Process 32">
            <a:extLst>
              <a:ext uri="{FF2B5EF4-FFF2-40B4-BE49-F238E27FC236}">
                <a16:creationId xmlns:a16="http://schemas.microsoft.com/office/drawing/2014/main" id="{E5439FC7-F5A6-4A28-94D2-959D13D9BCD4}"/>
              </a:ext>
            </a:extLst>
          </p:cNvPr>
          <p:cNvSpPr/>
          <p:nvPr/>
        </p:nvSpPr>
        <p:spPr>
          <a:xfrm>
            <a:off x="9734768" y="4408132"/>
            <a:ext cx="1944000" cy="738631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r>
              <a:rPr lang="en" sz="1000">
                <a:ea typeface="+mn-lt"/>
                <a:cs typeface="+mn-lt"/>
              </a:rPr>
              <a:t>Workshop series focused on upskilling and sharing expertise to prepare for data migration and EPR go-live.</a:t>
            </a:r>
            <a:endParaRPr lang="en-US" sz="1000">
              <a:ea typeface="+mn-lt"/>
              <a:cs typeface="+mn-lt"/>
            </a:endParaRPr>
          </a:p>
        </p:txBody>
      </p:sp>
      <p:sp>
        <p:nvSpPr>
          <p:cNvPr id="35" name="Flowchart: Alternative Process 34">
            <a:extLst>
              <a:ext uri="{FF2B5EF4-FFF2-40B4-BE49-F238E27FC236}">
                <a16:creationId xmlns:a16="http://schemas.microsoft.com/office/drawing/2014/main" id="{B30EED3A-C187-BB6B-B696-B80365F82CC8}"/>
              </a:ext>
            </a:extLst>
          </p:cNvPr>
          <p:cNvSpPr/>
          <p:nvPr/>
        </p:nvSpPr>
        <p:spPr>
          <a:xfrm>
            <a:off x="1877480" y="5647632"/>
            <a:ext cx="1899789" cy="705022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External programme hosted by NHS Providers to upskill Trust Board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CA1033F-0393-AEC0-1621-CC4073BBA643}"/>
              </a:ext>
            </a:extLst>
          </p:cNvPr>
          <p:cNvSpPr txBox="1"/>
          <p:nvPr/>
        </p:nvSpPr>
        <p:spPr>
          <a:xfrm>
            <a:off x="2998494" y="5266399"/>
            <a:ext cx="3133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36BCEF"/>
                </a:solidFill>
              </a:rPr>
              <a:t>Signposting</a:t>
            </a:r>
          </a:p>
        </p:txBody>
      </p:sp>
      <p:pic>
        <p:nvPicPr>
          <p:cNvPr id="38" name="Graphic 37" descr="Signpost outline">
            <a:extLst>
              <a:ext uri="{FF2B5EF4-FFF2-40B4-BE49-F238E27FC236}">
                <a16:creationId xmlns:a16="http://schemas.microsoft.com/office/drawing/2014/main" id="{032A4801-F2FC-367D-D330-1298F96C250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29159" y="5281984"/>
            <a:ext cx="369332" cy="369332"/>
          </a:xfrm>
          <a:prstGeom prst="rect">
            <a:avLst/>
          </a:prstGeom>
        </p:spPr>
      </p:pic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86EE889-E3C8-0308-FDD8-39C199A5FBD3}"/>
              </a:ext>
            </a:extLst>
          </p:cNvPr>
          <p:cNvSpPr/>
          <p:nvPr/>
        </p:nvSpPr>
        <p:spPr>
          <a:xfrm>
            <a:off x="4000258" y="5645370"/>
            <a:ext cx="1412113" cy="679622"/>
          </a:xfrm>
          <a:prstGeom prst="roundRect">
            <a:avLst/>
          </a:prstGeom>
          <a:solidFill>
            <a:srgbClr val="36BCEF"/>
          </a:solidFill>
          <a:ln>
            <a:solidFill>
              <a:srgbClr val="D5E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eful Links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47" name="Flowchart: Alternative Process 46">
            <a:extLst>
              <a:ext uri="{FF2B5EF4-FFF2-40B4-BE49-F238E27FC236}">
                <a16:creationId xmlns:a16="http://schemas.microsoft.com/office/drawing/2014/main" id="{AEC1E33D-55DC-369D-E164-8741F876B872}"/>
              </a:ext>
            </a:extLst>
          </p:cNvPr>
          <p:cNvSpPr/>
          <p:nvPr/>
        </p:nvSpPr>
        <p:spPr>
          <a:xfrm>
            <a:off x="5335773" y="5658070"/>
            <a:ext cx="1884281" cy="705022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sz="1000"/>
              <a:t>DCF,WGLL Framework, Digital Nursing Network, Digital Pharmacy.</a:t>
            </a:r>
            <a:endParaRPr lang="en-GB" sz="1000">
              <a:cs typeface="Arial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32FA6AC-C5C3-F7D0-1CBD-9A0109F533F9}"/>
              </a:ext>
            </a:extLst>
          </p:cNvPr>
          <p:cNvSpPr/>
          <p:nvPr/>
        </p:nvSpPr>
        <p:spPr>
          <a:xfrm>
            <a:off x="221693" y="840197"/>
            <a:ext cx="3924841" cy="4427917"/>
          </a:xfrm>
          <a:prstGeom prst="roundRect">
            <a:avLst>
              <a:gd name="adj" fmla="val 11605"/>
            </a:avLst>
          </a:prstGeom>
          <a:noFill/>
          <a:ln>
            <a:solidFill>
              <a:srgbClr val="0B5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E93952F-8A4B-14D1-8F4F-62F5DE913B6F}"/>
              </a:ext>
            </a:extLst>
          </p:cNvPr>
          <p:cNvSpPr/>
          <p:nvPr/>
        </p:nvSpPr>
        <p:spPr>
          <a:xfrm>
            <a:off x="4149754" y="840195"/>
            <a:ext cx="3874495" cy="4434977"/>
          </a:xfrm>
          <a:prstGeom prst="roundRect">
            <a:avLst>
              <a:gd name="adj" fmla="val 13171"/>
            </a:avLst>
          </a:prstGeom>
          <a:noFill/>
          <a:ln>
            <a:solidFill>
              <a:srgbClr val="0B5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0896254-F84E-EF02-47A5-D1F8FB3F0AB7}"/>
              </a:ext>
            </a:extLst>
          </p:cNvPr>
          <p:cNvSpPr txBox="1"/>
          <p:nvPr/>
        </p:nvSpPr>
        <p:spPr>
          <a:xfrm>
            <a:off x="4467906" y="844637"/>
            <a:ext cx="3191561" cy="40011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/>
            <a:r>
              <a:rPr lang="en-GB" b="1">
                <a:solidFill>
                  <a:srgbClr val="005EB8"/>
                </a:solidFill>
              </a:rPr>
              <a:t>Knowledge</a:t>
            </a:r>
            <a:endParaRPr lang="en-GB" sz="1467" b="1">
              <a:solidFill>
                <a:srgbClr val="005EB8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961DC03-7950-A9B5-19FF-279BB9B90DB6}"/>
              </a:ext>
            </a:extLst>
          </p:cNvPr>
          <p:cNvSpPr txBox="1"/>
          <p:nvPr/>
        </p:nvSpPr>
        <p:spPr>
          <a:xfrm>
            <a:off x="8388196" y="844637"/>
            <a:ext cx="3191561" cy="40011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/>
            <a:r>
              <a:rPr lang="en-GB" b="1">
                <a:solidFill>
                  <a:srgbClr val="00A8D7"/>
                </a:solidFill>
              </a:rPr>
              <a:t>Expertise</a:t>
            </a:r>
            <a:endParaRPr lang="en-GB" sz="1467" b="1">
              <a:solidFill>
                <a:srgbClr val="00A8D7"/>
              </a:solidFill>
            </a:endParaRPr>
          </a:p>
        </p:txBody>
      </p:sp>
      <p:sp>
        <p:nvSpPr>
          <p:cNvPr id="63" name="TextBox 1">
            <a:extLst>
              <a:ext uri="{FF2B5EF4-FFF2-40B4-BE49-F238E27FC236}">
                <a16:creationId xmlns:a16="http://schemas.microsoft.com/office/drawing/2014/main" id="{E573DB40-CFF0-A3DC-3098-188E64CDA954}"/>
              </a:ext>
            </a:extLst>
          </p:cNvPr>
          <p:cNvSpPr txBox="1"/>
          <p:nvPr/>
        </p:nvSpPr>
        <p:spPr>
          <a:xfrm>
            <a:off x="676203" y="847928"/>
            <a:ext cx="3200122" cy="40011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>
                <a:solidFill>
                  <a:schemeClr val="bg1"/>
                </a:solidFill>
              </a:rPr>
              <a:t>Collaboration</a:t>
            </a:r>
            <a:endParaRPr lang="en-GB" sz="2533">
              <a:solidFill>
                <a:schemeClr val="bg1"/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BF349D4B-355A-4495-A616-D0B4688C5E85}"/>
              </a:ext>
            </a:extLst>
          </p:cNvPr>
          <p:cNvCxnSpPr>
            <a:cxnSpLocks/>
          </p:cNvCxnSpPr>
          <p:nvPr/>
        </p:nvCxnSpPr>
        <p:spPr>
          <a:xfrm>
            <a:off x="377392" y="1514303"/>
            <a:ext cx="3495325" cy="0"/>
          </a:xfrm>
          <a:prstGeom prst="line">
            <a:avLst/>
          </a:prstGeom>
          <a:ln w="28575">
            <a:solidFill>
              <a:srgbClr val="B4CF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C9E53CE-083B-421D-9D15-9D12BD2E8080}"/>
              </a:ext>
            </a:extLst>
          </p:cNvPr>
          <p:cNvCxnSpPr>
            <a:cxnSpLocks/>
          </p:cNvCxnSpPr>
          <p:nvPr/>
        </p:nvCxnSpPr>
        <p:spPr>
          <a:xfrm>
            <a:off x="4343400" y="1514303"/>
            <a:ext cx="3495325" cy="0"/>
          </a:xfrm>
          <a:prstGeom prst="line">
            <a:avLst/>
          </a:prstGeom>
          <a:ln w="28575">
            <a:solidFill>
              <a:srgbClr val="D5EA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BA7345E-E523-412F-921C-FA94C447059F}"/>
              </a:ext>
            </a:extLst>
          </p:cNvPr>
          <p:cNvCxnSpPr>
            <a:cxnSpLocks/>
          </p:cNvCxnSpPr>
          <p:nvPr/>
        </p:nvCxnSpPr>
        <p:spPr>
          <a:xfrm>
            <a:off x="8229600" y="1514303"/>
            <a:ext cx="3495325" cy="0"/>
          </a:xfrm>
          <a:prstGeom prst="line">
            <a:avLst/>
          </a:prstGeom>
          <a:ln w="28575">
            <a:solidFill>
              <a:srgbClr val="E1F0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4781C89-2E4B-C679-2015-9387450EC8C2}"/>
              </a:ext>
            </a:extLst>
          </p:cNvPr>
          <p:cNvSpPr/>
          <p:nvPr/>
        </p:nvSpPr>
        <p:spPr>
          <a:xfrm>
            <a:off x="8030076" y="826349"/>
            <a:ext cx="3772458" cy="4434977"/>
          </a:xfrm>
          <a:prstGeom prst="roundRect">
            <a:avLst>
              <a:gd name="adj" fmla="val 13171"/>
            </a:avLst>
          </a:prstGeom>
          <a:noFill/>
          <a:ln>
            <a:solidFill>
              <a:srgbClr val="0B5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91B62A6-6B08-E427-7169-16EC7CAAC09B}"/>
              </a:ext>
            </a:extLst>
          </p:cNvPr>
          <p:cNvSpPr/>
          <p:nvPr/>
        </p:nvSpPr>
        <p:spPr>
          <a:xfrm>
            <a:off x="6929614" y="5268114"/>
            <a:ext cx="4869390" cy="1086509"/>
          </a:xfrm>
          <a:prstGeom prst="roundRect">
            <a:avLst/>
          </a:prstGeom>
          <a:solidFill>
            <a:schemeClr val="tx2"/>
          </a:solidFill>
          <a:ln>
            <a:solidFill>
              <a:srgbClr val="0B5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34685E-0273-3CFF-DF9A-81977E3098DC}"/>
              </a:ext>
            </a:extLst>
          </p:cNvPr>
          <p:cNvSpPr txBox="1"/>
          <p:nvPr/>
        </p:nvSpPr>
        <p:spPr>
          <a:xfrm>
            <a:off x="8353724" y="5291799"/>
            <a:ext cx="313306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rgbClr val="7F7F7F"/>
                </a:solidFill>
                <a:cs typeface="Arial"/>
              </a:rPr>
              <a:t>In Development 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155FDBF-2E4B-793D-52D2-89E8F8918C4A}"/>
              </a:ext>
            </a:extLst>
          </p:cNvPr>
          <p:cNvSpPr/>
          <p:nvPr/>
        </p:nvSpPr>
        <p:spPr>
          <a:xfrm>
            <a:off x="7056789" y="5608597"/>
            <a:ext cx="1355247" cy="702368"/>
          </a:xfrm>
          <a:prstGeom prst="roundRect">
            <a:avLst/>
          </a:prstGeom>
          <a:solidFill>
            <a:schemeClr val="tx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vergence</a:t>
            </a:r>
            <a:endParaRPr lang="en-GB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B705D4E4-3C30-DD7F-059E-71EECE9F043C}"/>
              </a:ext>
            </a:extLst>
          </p:cNvPr>
          <p:cNvSpPr/>
          <p:nvPr/>
        </p:nvSpPr>
        <p:spPr>
          <a:xfrm>
            <a:off x="8450259" y="5620263"/>
            <a:ext cx="1744904" cy="692322"/>
          </a:xfrm>
          <a:prstGeom prst="roundRect">
            <a:avLst/>
          </a:prstGeom>
          <a:solidFill>
            <a:schemeClr val="tx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 u="sng">
                <a:solidFill>
                  <a:schemeClr val="tx1"/>
                </a:solidFill>
                <a:cs typeface="Arial"/>
              </a:rPr>
              <a:t>Clinician-Focussed Suppor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C9F136B-C281-258D-9084-9ED0BA69C4B5}"/>
              </a:ext>
            </a:extLst>
          </p:cNvPr>
          <p:cNvSpPr/>
          <p:nvPr/>
        </p:nvSpPr>
        <p:spPr>
          <a:xfrm>
            <a:off x="10230714" y="5620903"/>
            <a:ext cx="1515040" cy="692322"/>
          </a:xfrm>
          <a:prstGeom prst="roundRect">
            <a:avLst/>
          </a:prstGeom>
          <a:solidFill>
            <a:schemeClr val="tx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 b="1" u="sng">
                <a:solidFill>
                  <a:schemeClr val="tx1"/>
                </a:solidFill>
                <a:cs typeface="Arial"/>
              </a:rPr>
              <a:t>Tiger Teams</a:t>
            </a:r>
          </a:p>
        </p:txBody>
      </p:sp>
    </p:spTree>
    <p:extLst>
      <p:ext uri="{BB962C8B-B14F-4D97-AF65-F5344CB8AC3E}">
        <p14:creationId xmlns:p14="http://schemas.microsoft.com/office/powerpoint/2010/main" val="83786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" name="Google Shape;1674;p4"/>
          <p:cNvSpPr/>
          <p:nvPr/>
        </p:nvSpPr>
        <p:spPr>
          <a:xfrm>
            <a:off x="2584714" y="4099166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linical 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formatics 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5" name="Google Shape;1675;p4"/>
          <p:cNvSpPr/>
          <p:nvPr/>
        </p:nvSpPr>
        <p:spPr>
          <a:xfrm>
            <a:off x="861180" y="3534166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hange 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nagement 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6" name="Google Shape;1676;p4"/>
          <p:cNvSpPr/>
          <p:nvPr/>
        </p:nvSpPr>
        <p:spPr>
          <a:xfrm>
            <a:off x="4612857" y="2733011"/>
            <a:ext cx="1927020" cy="61691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28575" cap="flat" cmpd="sng">
            <a:solidFill>
              <a:srgbClr val="82D1C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r>
              <a:rPr lang="en-GB" sz="13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upporting</a:t>
            </a:r>
          </a:p>
          <a:p>
            <a:pPr>
              <a:buClr>
                <a:srgbClr val="000000"/>
              </a:buClr>
              <a:buSzPts val="1333"/>
            </a:pPr>
            <a:r>
              <a:rPr lang="en-GB" sz="13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Teams </a:t>
            </a:r>
            <a:endParaRPr lang="en-GB" sz="1333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7" name="Google Shape;1677;p4"/>
          <p:cNvSpPr/>
          <p:nvPr/>
        </p:nvSpPr>
        <p:spPr>
          <a:xfrm>
            <a:off x="834258" y="1350370"/>
            <a:ext cx="7544058" cy="642807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28575" cap="flat" cmpd="sng">
            <a:solidFill>
              <a:srgbClr val="4472C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rontline Digitisation Support Offer</a:t>
            </a:r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8" name="Google Shape;1678;p4"/>
          <p:cNvSpPr/>
          <p:nvPr/>
        </p:nvSpPr>
        <p:spPr>
          <a:xfrm>
            <a:off x="857514" y="4099166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st Assurance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am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79" name="Google Shape;1679;p4"/>
          <p:cNvGrpSpPr/>
          <p:nvPr/>
        </p:nvGrpSpPr>
        <p:grpSpPr>
          <a:xfrm>
            <a:off x="4611479" y="3471898"/>
            <a:ext cx="1861009" cy="591747"/>
            <a:chOff x="4039432" y="3026855"/>
            <a:chExt cx="1256700" cy="608683"/>
          </a:xfrm>
        </p:grpSpPr>
        <p:sp>
          <p:nvSpPr>
            <p:cNvPr id="1680" name="Google Shape;1680;p4"/>
            <p:cNvSpPr/>
            <p:nvPr/>
          </p:nvSpPr>
          <p:spPr>
            <a:xfrm>
              <a:off x="4039432" y="3104602"/>
              <a:ext cx="1256700" cy="471900"/>
            </a:xfrm>
            <a:prstGeom prst="roundRect">
              <a:avLst>
                <a:gd name="adj" fmla="val 16667"/>
              </a:avLst>
            </a:prstGeom>
            <a:solidFill>
              <a:schemeClr val="dk1"/>
            </a:solidFill>
            <a:ln w="28575" cap="flat" cmpd="sng">
              <a:solidFill>
                <a:srgbClr val="00308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067"/>
              </a:pPr>
              <a:r>
                <a:rPr lang="en-GB" sz="105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ngagement</a:t>
              </a:r>
              <a:r>
                <a:rPr lang="en-GB" sz="105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 </a:t>
              </a:r>
              <a:endParaRPr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>
                <a:buClr>
                  <a:srgbClr val="000000"/>
                </a:buClr>
                <a:buSzPts val="1067"/>
              </a:pPr>
              <a:r>
                <a:rPr lang="en-GB" sz="105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eams </a:t>
              </a:r>
              <a:endParaRPr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81" name="Google Shape;1681;p4" descr="Speech icon"/>
            <p:cNvPicPr preferRelativeResize="0"/>
            <p:nvPr/>
          </p:nvPicPr>
          <p:blipFill rotWithShape="1">
            <a:blip r:embed="rId3">
              <a:alphaModFix/>
            </a:blip>
            <a:srcRect l="-18150" r="18148"/>
            <a:stretch/>
          </p:blipFill>
          <p:spPr>
            <a:xfrm>
              <a:off x="4782435" y="3026855"/>
              <a:ext cx="485194" cy="6086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82" name="Google Shape;1682;p4"/>
          <p:cNvSpPr/>
          <p:nvPr/>
        </p:nvSpPr>
        <p:spPr>
          <a:xfrm>
            <a:off x="6907927" y="4088158"/>
            <a:ext cx="1475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loud 21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3" name="Google Shape;1683;p4"/>
          <p:cNvSpPr/>
          <p:nvPr/>
        </p:nvSpPr>
        <p:spPr>
          <a:xfrm>
            <a:off x="6916789" y="4665777"/>
            <a:ext cx="1475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ordic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4" name="Google Shape;1684;p4"/>
          <p:cNvSpPr/>
          <p:nvPr/>
        </p:nvSpPr>
        <p:spPr>
          <a:xfrm>
            <a:off x="6916789" y="3533448"/>
            <a:ext cx="1475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85" name="Google Shape;1685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54206" y="3609522"/>
            <a:ext cx="360500" cy="3089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86" name="Google Shape;1686;p4"/>
          <p:cNvGrpSpPr/>
          <p:nvPr/>
        </p:nvGrpSpPr>
        <p:grpSpPr>
          <a:xfrm>
            <a:off x="7823061" y="4194390"/>
            <a:ext cx="484103" cy="346056"/>
            <a:chOff x="413910" y="3199371"/>
            <a:chExt cx="350325" cy="323701"/>
          </a:xfrm>
        </p:grpSpPr>
        <p:pic>
          <p:nvPicPr>
            <p:cNvPr id="1687" name="Google Shape;1687;p4"/>
            <p:cNvPicPr preferRelativeResize="0"/>
            <p:nvPr/>
          </p:nvPicPr>
          <p:blipFill rotWithShape="1">
            <a:blip r:embed="rId5">
              <a:alphaModFix/>
            </a:blip>
            <a:srcRect l="44851" t="-10" b="10"/>
            <a:stretch/>
          </p:blipFill>
          <p:spPr>
            <a:xfrm>
              <a:off x="413910" y="3354831"/>
              <a:ext cx="350325" cy="16824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88" name="Google Shape;1688;p4"/>
            <p:cNvPicPr preferRelativeResize="0"/>
            <p:nvPr/>
          </p:nvPicPr>
          <p:blipFill rotWithShape="1">
            <a:blip r:embed="rId5">
              <a:alphaModFix/>
            </a:blip>
            <a:srcRect t="-10" r="54851" b="10"/>
            <a:stretch/>
          </p:blipFill>
          <p:spPr>
            <a:xfrm>
              <a:off x="443882" y="3199371"/>
              <a:ext cx="290401" cy="17035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89" name="Google Shape;1689;p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698205" y="4810977"/>
            <a:ext cx="672500" cy="2019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1" name="Google Shape;1691;p4" descr="Continuous improvement icon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004081" y="3501790"/>
            <a:ext cx="564533" cy="5645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2" name="Google Shape;1692;p4" descr="Team icon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010119" y="4074554"/>
            <a:ext cx="564533" cy="5645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3" name="Google Shape;1693;p4" descr="Lab flask icon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711595" y="4056362"/>
            <a:ext cx="629200" cy="629200"/>
          </a:xfrm>
          <a:prstGeom prst="rect">
            <a:avLst/>
          </a:prstGeom>
          <a:noFill/>
          <a:ln>
            <a:noFill/>
          </a:ln>
        </p:spPr>
      </p:pic>
      <p:sp>
        <p:nvSpPr>
          <p:cNvPr id="1694" name="Google Shape;1694;p4"/>
          <p:cNvSpPr/>
          <p:nvPr/>
        </p:nvSpPr>
        <p:spPr>
          <a:xfrm>
            <a:off x="841047" y="5229164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067"/>
            </a:pPr>
            <a:r>
              <a:rPr lang="en-GB"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Liaison</a:t>
            </a:r>
            <a:r>
              <a:rPr lang="en-GB" sz="10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lang="en-GB"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067"/>
            </a:pPr>
            <a:r>
              <a:rPr lang="en-GB"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ervice</a:t>
            </a:r>
            <a:r>
              <a:rPr lang="en-GB" sz="10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(DLS)</a:t>
            </a:r>
            <a:endParaRPr lang="en-GB"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5" name="Google Shape;1695;p4"/>
          <p:cNvSpPr/>
          <p:nvPr/>
        </p:nvSpPr>
        <p:spPr>
          <a:xfrm>
            <a:off x="2584714" y="4659348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gital System Support (DSS)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6" name="Google Shape;1696;p4"/>
          <p:cNvSpPr/>
          <p:nvPr/>
        </p:nvSpPr>
        <p:spPr>
          <a:xfrm>
            <a:off x="2584714" y="5231599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enefits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7" name="Google Shape;1697;p4"/>
          <p:cNvSpPr/>
          <p:nvPr/>
        </p:nvSpPr>
        <p:spPr>
          <a:xfrm>
            <a:off x="2602298" y="3538999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GB" sz="106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usiness Case Review Service </a:t>
            </a:r>
            <a:endParaRPr sz="1067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8" name="Google Shape;1698;p4"/>
          <p:cNvSpPr/>
          <p:nvPr/>
        </p:nvSpPr>
        <p:spPr>
          <a:xfrm>
            <a:off x="841047" y="4664166"/>
            <a:ext cx="1677200" cy="49240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SzPts val="1067"/>
            </a:pPr>
            <a:r>
              <a:rPr lang="en-GB" sz="10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ondon </a:t>
            </a:r>
            <a:endParaRPr lang="en-US" sz="1067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SzPts val="1067"/>
            </a:pPr>
            <a:r>
              <a:rPr lang="en-GB" sz="10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curement</a:t>
            </a:r>
            <a:endParaRPr lang="en-US" sz="1050" b="1">
              <a:solidFill>
                <a:schemeClr val="lt1"/>
              </a:solidFill>
              <a:latin typeface="Arial"/>
              <a:ea typeface="Arial"/>
              <a:cs typeface="Arial"/>
            </a:endParaRPr>
          </a:p>
          <a:p>
            <a:pPr>
              <a:buSzPts val="1067"/>
            </a:pPr>
            <a:r>
              <a:rPr lang="en-GB" sz="10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tnership (LPP)</a:t>
            </a:r>
            <a:endParaRPr sz="10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700" name="Google Shape;1700;p4"/>
          <p:cNvSpPr/>
          <p:nvPr/>
        </p:nvSpPr>
        <p:spPr>
          <a:xfrm>
            <a:off x="6919744" y="2733380"/>
            <a:ext cx="1469762" cy="6446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28575" cap="flat" cmpd="sng">
            <a:solidFill>
              <a:srgbClr val="82D1C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r>
              <a:rPr lang="en-GB"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livery</a:t>
            </a:r>
            <a:endParaRPr sz="1333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r>
              <a:rPr lang="en-GB"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tner</a:t>
            </a:r>
            <a:endParaRPr sz="1333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01" name="Google Shape;1701;p4" descr="Person icon"/>
          <p:cNvPicPr preferRelativeResize="0"/>
          <p:nvPr/>
        </p:nvPicPr>
        <p:blipFill rotWithShape="1">
          <a:blip r:embed="rId10">
            <a:alphaModFix/>
          </a:blip>
          <a:srcRect l="-18860" r="18860"/>
          <a:stretch/>
        </p:blipFill>
        <p:spPr>
          <a:xfrm>
            <a:off x="7580490" y="2737208"/>
            <a:ext cx="781449" cy="7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2" name="Google Shape;1702;p4" descr="Edit icon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786763" y="3513026"/>
            <a:ext cx="564533" cy="564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3" name="Google Shape;1703;p4" descr="Web icon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733492" y="4617586"/>
            <a:ext cx="564533" cy="5645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4" name="Google Shape;1704;p4" descr="Tick icon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3794578" y="5219492"/>
            <a:ext cx="484133" cy="484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5" name="Google Shape;1705;p4" descr="Network icon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054724" y="5229173"/>
            <a:ext cx="484133" cy="484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6" name="Google Shape;1706;p4" descr="Venn icon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018706" y="4628101"/>
            <a:ext cx="564533" cy="564533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4"/>
          <p:cNvSpPr/>
          <p:nvPr/>
        </p:nvSpPr>
        <p:spPr>
          <a:xfrm>
            <a:off x="853114" y="2725160"/>
            <a:ext cx="3380350" cy="6292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28575" cap="flat" cmpd="sng">
            <a:solidFill>
              <a:srgbClr val="82D1C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GB" sz="13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ubject Matter Experts</a:t>
            </a:r>
            <a:r>
              <a:rPr lang="en-GB" sz="13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(SMEs)</a:t>
            </a:r>
            <a:endParaRPr lang="en-GB" sz="1333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08" name="Google Shape;1708;p4" descr="Group icon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3414766" y="2598046"/>
            <a:ext cx="782835" cy="825967"/>
          </a:xfrm>
          <a:prstGeom prst="rect">
            <a:avLst/>
          </a:prstGeom>
          <a:noFill/>
          <a:ln>
            <a:noFill/>
          </a:ln>
        </p:spPr>
      </p:pic>
      <p:sp>
        <p:nvSpPr>
          <p:cNvPr id="1710" name="Google Shape;1710;p4"/>
          <p:cNvSpPr/>
          <p:nvPr/>
        </p:nvSpPr>
        <p:spPr>
          <a:xfrm rot="5400000">
            <a:off x="4457470" y="-454327"/>
            <a:ext cx="299357" cy="5633356"/>
          </a:xfrm>
          <a:prstGeom prst="rightBrace">
            <a:avLst>
              <a:gd name="adj1" fmla="val 8333"/>
              <a:gd name="adj2" fmla="val 50000"/>
            </a:avLst>
          </a:prstGeom>
          <a:noFill/>
          <a:ln w="28575" cap="flat" cmpd="sng">
            <a:solidFill>
              <a:srgbClr val="002D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1" name="Google Shape;1711;p4"/>
          <p:cNvSpPr/>
          <p:nvPr/>
        </p:nvSpPr>
        <p:spPr>
          <a:xfrm>
            <a:off x="4603754" y="4101232"/>
            <a:ext cx="1861009" cy="45877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50" b="1">
                <a:solidFill>
                  <a:schemeClr val="lt1"/>
                </a:solidFill>
                <a:latin typeface="Arial"/>
                <a:cs typeface="Arial"/>
                <a:sym typeface="Arial"/>
              </a:rPr>
              <a:t>Blueprinting</a:t>
            </a:r>
            <a:endParaRPr>
              <a:solidFill>
                <a:schemeClr val="lt1"/>
              </a:solidFill>
            </a:endParaRPr>
          </a:p>
        </p:txBody>
      </p:sp>
      <p:pic>
        <p:nvPicPr>
          <p:cNvPr id="1712" name="Google Shape;1712;p4" descr="Map icon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5876532" y="4018766"/>
            <a:ext cx="638872" cy="638872"/>
          </a:xfrm>
          <a:prstGeom prst="rect">
            <a:avLst/>
          </a:prstGeom>
          <a:noFill/>
          <a:ln>
            <a:noFill/>
          </a:ln>
        </p:spPr>
      </p:pic>
      <p:sp>
        <p:nvSpPr>
          <p:cNvPr id="1713" name="Google Shape;1713;p4"/>
          <p:cNvSpPr/>
          <p:nvPr/>
        </p:nvSpPr>
        <p:spPr>
          <a:xfrm>
            <a:off x="9380029" y="1335152"/>
            <a:ext cx="2190749" cy="1278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40+ people </a:t>
            </a:r>
          </a:p>
        </p:txBody>
      </p:sp>
      <p:sp>
        <p:nvSpPr>
          <p:cNvPr id="1714" name="Google Shape;1714;p4"/>
          <p:cNvSpPr/>
          <p:nvPr/>
        </p:nvSpPr>
        <p:spPr>
          <a:xfrm>
            <a:off x="9379645" y="2790786"/>
            <a:ext cx="2190749" cy="12781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2 </a:t>
            </a:r>
            <a:r>
              <a:rPr lang="en-GB" sz="2000" b="1">
                <a:solidFill>
                  <a:schemeClr val="dk1"/>
                </a:solidFill>
              </a:rPr>
              <a:t>existing</a:t>
            </a:r>
            <a:r>
              <a:rPr lang="en-GB" sz="2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Teams within NHSE</a:t>
            </a:r>
            <a:endParaRPr lang="en-US" sz="2000">
              <a:solidFill>
                <a:schemeClr val="dk1"/>
              </a:solidFill>
              <a:cs typeface="Arial"/>
            </a:endParaRPr>
          </a:p>
        </p:txBody>
      </p:sp>
      <p:sp>
        <p:nvSpPr>
          <p:cNvPr id="1715" name="Google Shape;1715;p4"/>
          <p:cNvSpPr/>
          <p:nvPr/>
        </p:nvSpPr>
        <p:spPr>
          <a:xfrm>
            <a:off x="9379645" y="4294813"/>
            <a:ext cx="2190749" cy="1278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PR SMEs from our Delivery Partners </a:t>
            </a:r>
          </a:p>
        </p:txBody>
      </p:sp>
      <p:sp>
        <p:nvSpPr>
          <p:cNvPr id="2" name="Google Shape;1711;p4">
            <a:extLst>
              <a:ext uri="{FF2B5EF4-FFF2-40B4-BE49-F238E27FC236}">
                <a16:creationId xmlns:a16="http://schemas.microsoft.com/office/drawing/2014/main" id="{174AEECC-C411-627E-DC41-9BB625F3B09B}"/>
              </a:ext>
            </a:extLst>
          </p:cNvPr>
          <p:cNvSpPr/>
          <p:nvPr/>
        </p:nvSpPr>
        <p:spPr>
          <a:xfrm>
            <a:off x="4603754" y="4668676"/>
            <a:ext cx="1861009" cy="45877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8575" cap="flat" cmpd="sng">
            <a:solidFill>
              <a:srgbClr val="0030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GB" sz="1050" b="1" dirty="0">
                <a:solidFill>
                  <a:schemeClr val="lt1"/>
                </a:solidFill>
                <a:latin typeface="Arial"/>
                <a:cs typeface="Arial"/>
                <a:sym typeface="Arial"/>
              </a:rPr>
              <a:t>Value</a:t>
            </a:r>
            <a:endParaRPr lang="en-GB" sz="1050" b="1" dirty="0">
              <a:solidFill>
                <a:schemeClr val="lt1"/>
              </a:solidFill>
              <a:latin typeface="Arial"/>
              <a:cs typeface="Arial"/>
            </a:endParaRPr>
          </a:p>
          <a:p>
            <a:r>
              <a:rPr lang="en-GB" sz="1050" b="1" dirty="0">
                <a:solidFill>
                  <a:schemeClr val="lt1"/>
                </a:solidFill>
                <a:latin typeface="Arial"/>
                <a:cs typeface="Arial"/>
                <a:sym typeface="Arial"/>
              </a:rPr>
              <a:t>Assurance </a:t>
            </a:r>
            <a:endParaRPr lang="en-US" sz="1050" dirty="0">
              <a:solidFill>
                <a:schemeClr val="lt1"/>
              </a:solidFill>
              <a:latin typeface="Arial"/>
              <a:cs typeface="Arial"/>
            </a:endParaRPr>
          </a:p>
        </p:txBody>
      </p:sp>
      <p:sp>
        <p:nvSpPr>
          <p:cNvPr id="4" name="Google Shape;1709;p4">
            <a:extLst>
              <a:ext uri="{FF2B5EF4-FFF2-40B4-BE49-F238E27FC236}">
                <a16:creationId xmlns:a16="http://schemas.microsoft.com/office/drawing/2014/main" id="{13999C4D-B1F8-97FC-4D3F-E0B42D6B3E26}"/>
              </a:ext>
            </a:extLst>
          </p:cNvPr>
          <p:cNvSpPr txBox="1"/>
          <p:nvPr/>
        </p:nvSpPr>
        <p:spPr>
          <a:xfrm>
            <a:off x="232553" y="308234"/>
            <a:ext cx="10134777" cy="701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t" anchorCtr="0">
            <a:spAutoFit/>
          </a:bodyPr>
          <a:lstStyle/>
          <a:p>
            <a:r>
              <a:rPr lang="en-GB" sz="3600" b="1">
                <a:solidFill>
                  <a:srgbClr val="000000"/>
                </a:solidFill>
                <a:cs typeface="Arial"/>
              </a:rPr>
              <a:t>An Overview of the FD Partnership</a:t>
            </a:r>
            <a:endParaRPr lang="en-US"/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3B1EED2B-3A05-A565-2D81-E88ED461553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86117" y="2740653"/>
            <a:ext cx="625399" cy="623556"/>
          </a:xfrm>
          <a:prstGeom prst="rect">
            <a:avLst/>
          </a:prstGeom>
        </p:spPr>
      </p:pic>
      <p:pic>
        <p:nvPicPr>
          <p:cNvPr id="3" name="Picture 2" descr="A black square with a white stripe&#10;&#10;Description automatically generated">
            <a:extLst>
              <a:ext uri="{FF2B5EF4-FFF2-40B4-BE49-F238E27FC236}">
                <a16:creationId xmlns:a16="http://schemas.microsoft.com/office/drawing/2014/main" id="{F15EB808-E596-B43C-3845-C5A227E7476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901539" y="4587063"/>
            <a:ext cx="628057" cy="62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0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709;p4">
            <a:extLst>
              <a:ext uri="{FF2B5EF4-FFF2-40B4-BE49-F238E27FC236}">
                <a16:creationId xmlns:a16="http://schemas.microsoft.com/office/drawing/2014/main" id="{678DE97C-985E-F226-0CF3-F4DBD4D4B1F9}"/>
              </a:ext>
            </a:extLst>
          </p:cNvPr>
          <p:cNvSpPr txBox="1"/>
          <p:nvPr/>
        </p:nvSpPr>
        <p:spPr>
          <a:xfrm>
            <a:off x="232553" y="308234"/>
            <a:ext cx="10134777" cy="677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t" anchorCtr="0">
            <a:spAutoFit/>
          </a:bodyPr>
          <a:lstStyle/>
          <a:p>
            <a:r>
              <a:rPr lang="en-GB" sz="3600" b="1">
                <a:solidFill>
                  <a:srgbClr val="000000"/>
                </a:solidFill>
                <a:cs typeface="Arial"/>
              </a:rPr>
              <a:t>Challenges faced at the start of FDSO</a:t>
            </a:r>
          </a:p>
        </p:txBody>
      </p:sp>
      <p:sp>
        <p:nvSpPr>
          <p:cNvPr id="10" name="Google Shape;1555;g2e37ced3bdd_1_0">
            <a:extLst>
              <a:ext uri="{FF2B5EF4-FFF2-40B4-BE49-F238E27FC236}">
                <a16:creationId xmlns:a16="http://schemas.microsoft.com/office/drawing/2014/main" id="{03628C53-0F13-4C03-03FA-2E6839AB93A3}"/>
              </a:ext>
            </a:extLst>
          </p:cNvPr>
          <p:cNvSpPr/>
          <p:nvPr/>
        </p:nvSpPr>
        <p:spPr>
          <a:xfrm>
            <a:off x="4684475" y="2172082"/>
            <a:ext cx="3172100" cy="2889300"/>
          </a:xfrm>
          <a:prstGeom prst="flowChartConnector">
            <a:avLst/>
          </a:prstGeom>
          <a:noFill/>
          <a:ln w="28575" cap="flat" cmpd="sng">
            <a:solidFill>
              <a:schemeClr val="accent6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556;g2e37ced3bdd_1_0">
            <a:extLst>
              <a:ext uri="{FF2B5EF4-FFF2-40B4-BE49-F238E27FC236}">
                <a16:creationId xmlns:a16="http://schemas.microsoft.com/office/drawing/2014/main" id="{37258DEA-CE0F-AFAE-5C6F-5E00C3FE45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35498" y="2756195"/>
            <a:ext cx="3447000" cy="8652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 fontScale="90000"/>
          </a:bodyPr>
          <a:lstStyle/>
          <a:p>
            <a:pPr algn="ctr"/>
            <a:r>
              <a:rPr lang="en-GB"/>
              <a:t>The </a:t>
            </a:r>
            <a:br>
              <a:rPr lang="en-GB"/>
            </a:br>
            <a:r>
              <a:rPr lang="en-GB"/>
              <a:t>Challenges</a:t>
            </a:r>
            <a:endParaRPr lang="en-US"/>
          </a:p>
        </p:txBody>
      </p:sp>
      <p:pic>
        <p:nvPicPr>
          <p:cNvPr id="14" name="Google Shape;1557;g2e37ced3bdd_1_0" descr="A few people standing next to a question mark&#10;&#10;Description automatically generated">
            <a:extLst>
              <a:ext uri="{FF2B5EF4-FFF2-40B4-BE49-F238E27FC236}">
                <a16:creationId xmlns:a16="http://schemas.microsoft.com/office/drawing/2014/main" id="{B36A8346-A065-50D3-A83A-D76E780FAF4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93776" y="3615772"/>
            <a:ext cx="1396929" cy="129592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ADD7838C-932E-F697-28EF-37A8BF9B2E3D}"/>
              </a:ext>
            </a:extLst>
          </p:cNvPr>
          <p:cNvGrpSpPr/>
          <p:nvPr/>
        </p:nvGrpSpPr>
        <p:grpSpPr>
          <a:xfrm>
            <a:off x="7088758" y="4634600"/>
            <a:ext cx="347663" cy="350838"/>
            <a:chOff x="6823715" y="4982470"/>
            <a:chExt cx="347663" cy="350838"/>
          </a:xfrm>
        </p:grpSpPr>
        <p:sp>
          <p:nvSpPr>
            <p:cNvPr id="16" name="Google Shape;1558;g2e37ced3bdd_1_0">
              <a:extLst>
                <a:ext uri="{FF2B5EF4-FFF2-40B4-BE49-F238E27FC236}">
                  <a16:creationId xmlns:a16="http://schemas.microsoft.com/office/drawing/2014/main" id="{02376336-495B-1393-AA47-2C67EC6B3DF4}"/>
                </a:ext>
              </a:extLst>
            </p:cNvPr>
            <p:cNvSpPr/>
            <p:nvPr/>
          </p:nvSpPr>
          <p:spPr>
            <a:xfrm>
              <a:off x="6904677" y="5061845"/>
              <a:ext cx="185738" cy="192088"/>
            </a:xfrm>
            <a:custGeom>
              <a:avLst/>
              <a:gdLst/>
              <a:ahLst/>
              <a:cxnLst/>
              <a:rect l="l" t="t" r="r" b="b"/>
              <a:pathLst>
                <a:path w="49" h="50" extrusionOk="0">
                  <a:moveTo>
                    <a:pt x="42" y="12"/>
                  </a:moveTo>
                  <a:cubicBezTo>
                    <a:pt x="49" y="22"/>
                    <a:pt x="47" y="36"/>
                    <a:pt x="38" y="43"/>
                  </a:cubicBezTo>
                  <a:cubicBezTo>
                    <a:pt x="28" y="50"/>
                    <a:pt x="14" y="48"/>
                    <a:pt x="7" y="38"/>
                  </a:cubicBezTo>
                  <a:cubicBezTo>
                    <a:pt x="0" y="28"/>
                    <a:pt x="2" y="15"/>
                    <a:pt x="12" y="8"/>
                  </a:cubicBezTo>
                  <a:cubicBezTo>
                    <a:pt x="22" y="0"/>
                    <a:pt x="35" y="3"/>
                    <a:pt x="42" y="12"/>
                  </a:cubicBezTo>
                  <a:close/>
                </a:path>
              </a:pathLst>
            </a:custGeom>
            <a:solidFill>
              <a:srgbClr val="00A499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559;g2e37ced3bdd_1_0">
              <a:extLst>
                <a:ext uri="{FF2B5EF4-FFF2-40B4-BE49-F238E27FC236}">
                  <a16:creationId xmlns:a16="http://schemas.microsoft.com/office/drawing/2014/main" id="{703E7D21-AFEE-0AF8-53FB-0554DCF9738A}"/>
                </a:ext>
              </a:extLst>
            </p:cNvPr>
            <p:cNvSpPr/>
            <p:nvPr/>
          </p:nvSpPr>
          <p:spPr>
            <a:xfrm>
              <a:off x="6823715" y="4982470"/>
              <a:ext cx="347663" cy="350838"/>
            </a:xfrm>
            <a:custGeom>
              <a:avLst/>
              <a:gdLst/>
              <a:ahLst/>
              <a:cxnLst/>
              <a:rect l="l" t="t" r="r" b="b"/>
              <a:pathLst>
                <a:path w="91" h="92" extrusionOk="0">
                  <a:moveTo>
                    <a:pt x="78" y="22"/>
                  </a:moveTo>
                  <a:cubicBezTo>
                    <a:pt x="91" y="40"/>
                    <a:pt x="87" y="66"/>
                    <a:pt x="69" y="79"/>
                  </a:cubicBezTo>
                  <a:cubicBezTo>
                    <a:pt x="51" y="92"/>
                    <a:pt x="26" y="88"/>
                    <a:pt x="13" y="70"/>
                  </a:cubicBezTo>
                  <a:cubicBezTo>
                    <a:pt x="0" y="52"/>
                    <a:pt x="4" y="27"/>
                    <a:pt x="22" y="14"/>
                  </a:cubicBezTo>
                  <a:cubicBezTo>
                    <a:pt x="40" y="0"/>
                    <a:pt x="65" y="4"/>
                    <a:pt x="78" y="22"/>
                  </a:cubicBezTo>
                  <a:close/>
                </a:path>
              </a:pathLst>
            </a:custGeom>
            <a:noFill/>
            <a:ln w="53975" cap="flat" cmpd="sng">
              <a:solidFill>
                <a:srgbClr val="00A49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A0A6FB9-EA1D-8497-D8DF-A560A7AA89FC}"/>
              </a:ext>
            </a:extLst>
          </p:cNvPr>
          <p:cNvGrpSpPr/>
          <p:nvPr/>
        </p:nvGrpSpPr>
        <p:grpSpPr>
          <a:xfrm>
            <a:off x="7194418" y="2363162"/>
            <a:ext cx="347663" cy="347663"/>
            <a:chOff x="6823715" y="2188108"/>
            <a:chExt cx="347663" cy="347663"/>
          </a:xfrm>
        </p:grpSpPr>
        <p:sp>
          <p:nvSpPr>
            <p:cNvPr id="26" name="Google Shape;1563;g2e37ced3bdd_1_0">
              <a:extLst>
                <a:ext uri="{FF2B5EF4-FFF2-40B4-BE49-F238E27FC236}">
                  <a16:creationId xmlns:a16="http://schemas.microsoft.com/office/drawing/2014/main" id="{FEC1DA16-48C4-BE0C-3F90-FB2E212B98DA}"/>
                </a:ext>
              </a:extLst>
            </p:cNvPr>
            <p:cNvSpPr/>
            <p:nvPr/>
          </p:nvSpPr>
          <p:spPr>
            <a:xfrm>
              <a:off x="6904677" y="2268270"/>
              <a:ext cx="185738" cy="187325"/>
            </a:xfrm>
            <a:custGeom>
              <a:avLst/>
              <a:gdLst/>
              <a:ahLst/>
              <a:cxnLst/>
              <a:rect l="l" t="t" r="r" b="b"/>
              <a:pathLst>
                <a:path w="49" h="49" extrusionOk="0">
                  <a:moveTo>
                    <a:pt x="7" y="12"/>
                  </a:moveTo>
                  <a:cubicBezTo>
                    <a:pt x="14" y="2"/>
                    <a:pt x="28" y="0"/>
                    <a:pt x="38" y="7"/>
                  </a:cubicBezTo>
                  <a:cubicBezTo>
                    <a:pt x="47" y="14"/>
                    <a:pt x="49" y="28"/>
                    <a:pt x="42" y="37"/>
                  </a:cubicBezTo>
                  <a:cubicBezTo>
                    <a:pt x="35" y="47"/>
                    <a:pt x="22" y="49"/>
                    <a:pt x="12" y="42"/>
                  </a:cubicBezTo>
                  <a:cubicBezTo>
                    <a:pt x="2" y="35"/>
                    <a:pt x="0" y="22"/>
                    <a:pt x="7" y="1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1564;g2e37ced3bdd_1_0">
              <a:extLst>
                <a:ext uri="{FF2B5EF4-FFF2-40B4-BE49-F238E27FC236}">
                  <a16:creationId xmlns:a16="http://schemas.microsoft.com/office/drawing/2014/main" id="{F7D3AC6A-B3EC-A72F-C531-5D9BFF146865}"/>
                </a:ext>
              </a:extLst>
            </p:cNvPr>
            <p:cNvSpPr/>
            <p:nvPr/>
          </p:nvSpPr>
          <p:spPr>
            <a:xfrm>
              <a:off x="6823715" y="2188108"/>
              <a:ext cx="347663" cy="347663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13" y="22"/>
                  </a:moveTo>
                  <a:cubicBezTo>
                    <a:pt x="26" y="4"/>
                    <a:pt x="51" y="0"/>
                    <a:pt x="69" y="13"/>
                  </a:cubicBezTo>
                  <a:cubicBezTo>
                    <a:pt x="87" y="26"/>
                    <a:pt x="91" y="51"/>
                    <a:pt x="78" y="69"/>
                  </a:cubicBezTo>
                  <a:cubicBezTo>
                    <a:pt x="65" y="87"/>
                    <a:pt x="40" y="91"/>
                    <a:pt x="22" y="78"/>
                  </a:cubicBezTo>
                  <a:cubicBezTo>
                    <a:pt x="4" y="65"/>
                    <a:pt x="0" y="40"/>
                    <a:pt x="13" y="22"/>
                  </a:cubicBezTo>
                  <a:close/>
                </a:path>
              </a:pathLst>
            </a:custGeom>
            <a:noFill/>
            <a:ln w="5397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D3AD0C3-C2B6-941C-A054-81F038A2EE3E}"/>
              </a:ext>
            </a:extLst>
          </p:cNvPr>
          <p:cNvGrpSpPr/>
          <p:nvPr/>
        </p:nvGrpSpPr>
        <p:grpSpPr>
          <a:xfrm>
            <a:off x="5110533" y="4634600"/>
            <a:ext cx="347663" cy="350838"/>
            <a:chOff x="4845490" y="4982470"/>
            <a:chExt cx="347663" cy="350838"/>
          </a:xfrm>
        </p:grpSpPr>
        <p:sp>
          <p:nvSpPr>
            <p:cNvPr id="1546" name="Google Shape;1601;g2e37ced3bdd_1_0">
              <a:extLst>
                <a:ext uri="{FF2B5EF4-FFF2-40B4-BE49-F238E27FC236}">
                  <a16:creationId xmlns:a16="http://schemas.microsoft.com/office/drawing/2014/main" id="{CE2438FA-C801-F5E5-506F-9613D0378318}"/>
                </a:ext>
              </a:extLst>
            </p:cNvPr>
            <p:cNvSpPr/>
            <p:nvPr/>
          </p:nvSpPr>
          <p:spPr>
            <a:xfrm>
              <a:off x="4926477" y="5061845"/>
              <a:ext cx="185738" cy="192088"/>
            </a:xfrm>
            <a:custGeom>
              <a:avLst/>
              <a:gdLst/>
              <a:ahLst/>
              <a:cxnLst/>
              <a:rect l="l" t="t" r="r" b="b"/>
              <a:pathLst>
                <a:path w="49" h="50" extrusionOk="0">
                  <a:moveTo>
                    <a:pt x="42" y="12"/>
                  </a:moveTo>
                  <a:cubicBezTo>
                    <a:pt x="49" y="22"/>
                    <a:pt x="47" y="36"/>
                    <a:pt x="38" y="43"/>
                  </a:cubicBezTo>
                  <a:cubicBezTo>
                    <a:pt x="28" y="50"/>
                    <a:pt x="14" y="48"/>
                    <a:pt x="7" y="38"/>
                  </a:cubicBezTo>
                  <a:cubicBezTo>
                    <a:pt x="0" y="28"/>
                    <a:pt x="2" y="15"/>
                    <a:pt x="12" y="8"/>
                  </a:cubicBezTo>
                  <a:cubicBezTo>
                    <a:pt x="22" y="0"/>
                    <a:pt x="35" y="3"/>
                    <a:pt x="42" y="1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8" name="Google Shape;1602;g2e37ced3bdd_1_0">
              <a:extLst>
                <a:ext uri="{FF2B5EF4-FFF2-40B4-BE49-F238E27FC236}">
                  <a16:creationId xmlns:a16="http://schemas.microsoft.com/office/drawing/2014/main" id="{67A9DE40-C0BD-7F83-2100-7A47E8A50A1A}"/>
                </a:ext>
              </a:extLst>
            </p:cNvPr>
            <p:cNvSpPr/>
            <p:nvPr/>
          </p:nvSpPr>
          <p:spPr>
            <a:xfrm>
              <a:off x="4845490" y="4982470"/>
              <a:ext cx="347663" cy="350838"/>
            </a:xfrm>
            <a:custGeom>
              <a:avLst/>
              <a:gdLst/>
              <a:ahLst/>
              <a:cxnLst/>
              <a:rect l="l" t="t" r="r" b="b"/>
              <a:pathLst>
                <a:path w="91" h="92" extrusionOk="0">
                  <a:moveTo>
                    <a:pt x="78" y="22"/>
                  </a:moveTo>
                  <a:cubicBezTo>
                    <a:pt x="91" y="40"/>
                    <a:pt x="87" y="66"/>
                    <a:pt x="69" y="79"/>
                  </a:cubicBezTo>
                  <a:cubicBezTo>
                    <a:pt x="51" y="92"/>
                    <a:pt x="26" y="88"/>
                    <a:pt x="13" y="70"/>
                  </a:cubicBezTo>
                  <a:cubicBezTo>
                    <a:pt x="0" y="52"/>
                    <a:pt x="4" y="27"/>
                    <a:pt x="22" y="14"/>
                  </a:cubicBezTo>
                  <a:cubicBezTo>
                    <a:pt x="40" y="0"/>
                    <a:pt x="65" y="4"/>
                    <a:pt x="78" y="22"/>
                  </a:cubicBezTo>
                  <a:close/>
                </a:path>
              </a:pathLst>
            </a:custGeom>
            <a:noFill/>
            <a:ln w="5397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E022454-AD43-F942-8FC8-55F0638E402C}"/>
              </a:ext>
            </a:extLst>
          </p:cNvPr>
          <p:cNvGrpSpPr/>
          <p:nvPr/>
        </p:nvGrpSpPr>
        <p:grpSpPr>
          <a:xfrm>
            <a:off x="5041713" y="2363162"/>
            <a:ext cx="347663" cy="347663"/>
            <a:chOff x="4938740" y="2188108"/>
            <a:chExt cx="347663" cy="347663"/>
          </a:xfrm>
        </p:grpSpPr>
        <p:sp>
          <p:nvSpPr>
            <p:cNvPr id="1679" name="Google Shape;1616;g2e37ced3bdd_1_0">
              <a:extLst>
                <a:ext uri="{FF2B5EF4-FFF2-40B4-BE49-F238E27FC236}">
                  <a16:creationId xmlns:a16="http://schemas.microsoft.com/office/drawing/2014/main" id="{224BECD5-08C8-1C4C-7B00-1C0C5FB60F18}"/>
                </a:ext>
              </a:extLst>
            </p:cNvPr>
            <p:cNvSpPr/>
            <p:nvPr/>
          </p:nvSpPr>
          <p:spPr>
            <a:xfrm>
              <a:off x="5019702" y="2268270"/>
              <a:ext cx="185738" cy="187325"/>
            </a:xfrm>
            <a:custGeom>
              <a:avLst/>
              <a:gdLst/>
              <a:ahLst/>
              <a:cxnLst/>
              <a:rect l="l" t="t" r="r" b="b"/>
              <a:pathLst>
                <a:path w="49" h="49" extrusionOk="0">
                  <a:moveTo>
                    <a:pt x="7" y="12"/>
                  </a:moveTo>
                  <a:cubicBezTo>
                    <a:pt x="14" y="2"/>
                    <a:pt x="28" y="0"/>
                    <a:pt x="38" y="7"/>
                  </a:cubicBezTo>
                  <a:cubicBezTo>
                    <a:pt x="47" y="14"/>
                    <a:pt x="49" y="28"/>
                    <a:pt x="42" y="37"/>
                  </a:cubicBezTo>
                  <a:cubicBezTo>
                    <a:pt x="35" y="47"/>
                    <a:pt x="22" y="49"/>
                    <a:pt x="12" y="42"/>
                  </a:cubicBezTo>
                  <a:cubicBezTo>
                    <a:pt x="2" y="35"/>
                    <a:pt x="0" y="22"/>
                    <a:pt x="7" y="12"/>
                  </a:cubicBezTo>
                  <a:close/>
                </a:path>
              </a:pathLst>
            </a:custGeom>
            <a:solidFill>
              <a:srgbClr val="00A499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1" name="Google Shape;1617;g2e37ced3bdd_1_0">
              <a:extLst>
                <a:ext uri="{FF2B5EF4-FFF2-40B4-BE49-F238E27FC236}">
                  <a16:creationId xmlns:a16="http://schemas.microsoft.com/office/drawing/2014/main" id="{0FC52CEC-664E-2CA3-D3CF-7FA3073080D9}"/>
                </a:ext>
              </a:extLst>
            </p:cNvPr>
            <p:cNvSpPr/>
            <p:nvPr/>
          </p:nvSpPr>
          <p:spPr>
            <a:xfrm>
              <a:off x="4938740" y="2188108"/>
              <a:ext cx="347663" cy="347663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13" y="22"/>
                  </a:moveTo>
                  <a:cubicBezTo>
                    <a:pt x="26" y="4"/>
                    <a:pt x="51" y="0"/>
                    <a:pt x="69" y="13"/>
                  </a:cubicBezTo>
                  <a:cubicBezTo>
                    <a:pt x="87" y="26"/>
                    <a:pt x="91" y="51"/>
                    <a:pt x="78" y="69"/>
                  </a:cubicBezTo>
                  <a:cubicBezTo>
                    <a:pt x="65" y="87"/>
                    <a:pt x="40" y="91"/>
                    <a:pt x="22" y="78"/>
                  </a:cubicBezTo>
                  <a:cubicBezTo>
                    <a:pt x="4" y="65"/>
                    <a:pt x="0" y="40"/>
                    <a:pt x="13" y="22"/>
                  </a:cubicBezTo>
                  <a:close/>
                </a:path>
              </a:pathLst>
            </a:custGeom>
            <a:noFill/>
            <a:ln w="53975" cap="flat" cmpd="sng">
              <a:solidFill>
                <a:srgbClr val="00A49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676A4A2-C089-5818-4ABC-A0D0761D2162}"/>
              </a:ext>
            </a:extLst>
          </p:cNvPr>
          <p:cNvGrpSpPr/>
          <p:nvPr/>
        </p:nvGrpSpPr>
        <p:grpSpPr>
          <a:xfrm>
            <a:off x="4544418" y="3616265"/>
            <a:ext cx="347663" cy="347663"/>
            <a:chOff x="4215352" y="2960820"/>
            <a:chExt cx="347663" cy="347663"/>
          </a:xfrm>
        </p:grpSpPr>
        <p:sp>
          <p:nvSpPr>
            <p:cNvPr id="1690" name="Google Shape;1624;g2e37ced3bdd_1_0">
              <a:extLst>
                <a:ext uri="{FF2B5EF4-FFF2-40B4-BE49-F238E27FC236}">
                  <a16:creationId xmlns:a16="http://schemas.microsoft.com/office/drawing/2014/main" id="{99A3DE43-8FE5-29AF-93EB-84DE1DE1CCD1}"/>
                </a:ext>
              </a:extLst>
            </p:cNvPr>
            <p:cNvSpPr/>
            <p:nvPr/>
          </p:nvSpPr>
          <p:spPr>
            <a:xfrm>
              <a:off x="4295527" y="3041783"/>
              <a:ext cx="187325" cy="187325"/>
            </a:xfrm>
            <a:custGeom>
              <a:avLst/>
              <a:gdLst/>
              <a:ahLst/>
              <a:cxnLst/>
              <a:rect l="l" t="t" r="r" b="b"/>
              <a:pathLst>
                <a:path w="49" h="49" extrusionOk="0">
                  <a:moveTo>
                    <a:pt x="18" y="4"/>
                  </a:moveTo>
                  <a:cubicBezTo>
                    <a:pt x="29" y="0"/>
                    <a:pt x="41" y="6"/>
                    <a:pt x="45" y="18"/>
                  </a:cubicBezTo>
                  <a:cubicBezTo>
                    <a:pt x="49" y="29"/>
                    <a:pt x="43" y="41"/>
                    <a:pt x="31" y="45"/>
                  </a:cubicBezTo>
                  <a:cubicBezTo>
                    <a:pt x="20" y="49"/>
                    <a:pt x="7" y="43"/>
                    <a:pt x="4" y="31"/>
                  </a:cubicBezTo>
                  <a:cubicBezTo>
                    <a:pt x="0" y="20"/>
                    <a:pt x="6" y="8"/>
                    <a:pt x="18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2" name="Google Shape;1625;g2e37ced3bdd_1_0">
              <a:extLst>
                <a:ext uri="{FF2B5EF4-FFF2-40B4-BE49-F238E27FC236}">
                  <a16:creationId xmlns:a16="http://schemas.microsoft.com/office/drawing/2014/main" id="{5EDB9101-BF44-56EB-CDCA-DC9F5B5A2ABA}"/>
                </a:ext>
              </a:extLst>
            </p:cNvPr>
            <p:cNvSpPr/>
            <p:nvPr/>
          </p:nvSpPr>
          <p:spPr>
            <a:xfrm>
              <a:off x="4215352" y="2960820"/>
              <a:ext cx="347663" cy="347663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33" y="7"/>
                  </a:moveTo>
                  <a:cubicBezTo>
                    <a:pt x="54" y="0"/>
                    <a:pt x="77" y="12"/>
                    <a:pt x="84" y="33"/>
                  </a:cubicBezTo>
                  <a:cubicBezTo>
                    <a:pt x="91" y="54"/>
                    <a:pt x="79" y="77"/>
                    <a:pt x="58" y="84"/>
                  </a:cubicBezTo>
                  <a:cubicBezTo>
                    <a:pt x="37" y="91"/>
                    <a:pt x="14" y="79"/>
                    <a:pt x="7" y="58"/>
                  </a:cubicBezTo>
                  <a:cubicBezTo>
                    <a:pt x="0" y="37"/>
                    <a:pt x="12" y="14"/>
                    <a:pt x="33" y="7"/>
                  </a:cubicBezTo>
                  <a:close/>
                </a:path>
              </a:pathLst>
            </a:custGeom>
            <a:noFill/>
            <a:ln w="539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98802B4-BE21-9D42-BF09-2AAD5F1A736C}"/>
              </a:ext>
            </a:extLst>
          </p:cNvPr>
          <p:cNvGrpSpPr/>
          <p:nvPr/>
        </p:nvGrpSpPr>
        <p:grpSpPr>
          <a:xfrm>
            <a:off x="8124556" y="2894170"/>
            <a:ext cx="3326654" cy="1095454"/>
            <a:chOff x="8016840" y="2226232"/>
            <a:chExt cx="3326654" cy="1095454"/>
          </a:xfrm>
        </p:grpSpPr>
        <p:grpSp>
          <p:nvGrpSpPr>
            <p:cNvPr id="41" name="Google Shape;1570;g2e37ced3bdd_1_0">
              <a:extLst>
                <a:ext uri="{FF2B5EF4-FFF2-40B4-BE49-F238E27FC236}">
                  <a16:creationId xmlns:a16="http://schemas.microsoft.com/office/drawing/2014/main" id="{19A7D73A-B3CC-EC25-584C-25FCBF4626A6}"/>
                </a:ext>
              </a:extLst>
            </p:cNvPr>
            <p:cNvGrpSpPr/>
            <p:nvPr/>
          </p:nvGrpSpPr>
          <p:grpSpPr>
            <a:xfrm>
              <a:off x="8016840" y="2227045"/>
              <a:ext cx="3326654" cy="1093800"/>
              <a:chOff x="7978019" y="2345513"/>
              <a:chExt cx="3326654" cy="1093800"/>
            </a:xfrm>
          </p:grpSpPr>
          <p:sp>
            <p:nvSpPr>
              <p:cNvPr id="36" name="Google Shape;1571;g2e37ced3bdd_1_0">
                <a:extLst>
                  <a:ext uri="{FF2B5EF4-FFF2-40B4-BE49-F238E27FC236}">
                    <a16:creationId xmlns:a16="http://schemas.microsoft.com/office/drawing/2014/main" id="{CFFA762D-8629-F951-0A25-9BE85CF697DE}"/>
                  </a:ext>
                </a:extLst>
              </p:cNvPr>
              <p:cNvSpPr/>
              <p:nvPr/>
            </p:nvSpPr>
            <p:spPr>
              <a:xfrm>
                <a:off x="8193073" y="2345513"/>
                <a:ext cx="3111600" cy="1093800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37" name="Google Shape;1572;g2e37ced3bdd_1_0">
                <a:extLst>
                  <a:ext uri="{FF2B5EF4-FFF2-40B4-BE49-F238E27FC236}">
                    <a16:creationId xmlns:a16="http://schemas.microsoft.com/office/drawing/2014/main" id="{6C918B35-82A2-2E7D-603C-2F6E3AA2EA3C}"/>
                  </a:ext>
                </a:extLst>
              </p:cNvPr>
              <p:cNvGrpSpPr/>
              <p:nvPr/>
            </p:nvGrpSpPr>
            <p:grpSpPr>
              <a:xfrm>
                <a:off x="8417278" y="2527157"/>
                <a:ext cx="736708" cy="737784"/>
                <a:chOff x="6345238" y="4948238"/>
                <a:chExt cx="1027200" cy="1028700"/>
              </a:xfrm>
            </p:grpSpPr>
            <p:sp>
              <p:nvSpPr>
                <p:cNvPr id="39" name="Google Shape;1573;g2e37ced3bdd_1_0">
                  <a:extLst>
                    <a:ext uri="{FF2B5EF4-FFF2-40B4-BE49-F238E27FC236}">
                      <a16:creationId xmlns:a16="http://schemas.microsoft.com/office/drawing/2014/main" id="{58097A64-760A-EBAA-9926-E408D3C90EDC}"/>
                    </a:ext>
                  </a:extLst>
                </p:cNvPr>
                <p:cNvSpPr/>
                <p:nvPr/>
              </p:nvSpPr>
              <p:spPr>
                <a:xfrm>
                  <a:off x="6345238" y="4948238"/>
                  <a:ext cx="1027200" cy="10287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Google Shape;1574;g2e37ced3bdd_1_0">
                  <a:extLst>
                    <a:ext uri="{FF2B5EF4-FFF2-40B4-BE49-F238E27FC236}">
                      <a16:creationId xmlns:a16="http://schemas.microsoft.com/office/drawing/2014/main" id="{F2AE900D-9967-B697-55B2-3DBE52F189F9}"/>
                    </a:ext>
                  </a:extLst>
                </p:cNvPr>
                <p:cNvSpPr/>
                <p:nvPr/>
              </p:nvSpPr>
              <p:spPr>
                <a:xfrm>
                  <a:off x="6359525" y="4962526"/>
                  <a:ext cx="998400" cy="10002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38" name="Google Shape;1575;g2e37ced3bdd_1_0">
                <a:extLst>
                  <a:ext uri="{FF2B5EF4-FFF2-40B4-BE49-F238E27FC236}">
                    <a16:creationId xmlns:a16="http://schemas.microsoft.com/office/drawing/2014/main" id="{4A4F400C-3296-F42C-0798-C77A843EC8B9}"/>
                  </a:ext>
                </a:extLst>
              </p:cNvPr>
              <p:cNvSpPr/>
              <p:nvPr/>
            </p:nvSpPr>
            <p:spPr>
              <a:xfrm rot="-5114502">
                <a:off x="8054492" y="3044904"/>
                <a:ext cx="267622" cy="420567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43" name="Google Shape;1576;g2e37ced3bdd_1_0">
              <a:extLst>
                <a:ext uri="{FF2B5EF4-FFF2-40B4-BE49-F238E27FC236}">
                  <a16:creationId xmlns:a16="http://schemas.microsoft.com/office/drawing/2014/main" id="{5656D6CE-0C9A-E9BA-4D44-9C783D36184C}"/>
                </a:ext>
              </a:extLst>
            </p:cNvPr>
            <p:cNvSpPr/>
            <p:nvPr/>
          </p:nvSpPr>
          <p:spPr>
            <a:xfrm>
              <a:off x="9334425" y="2226232"/>
              <a:ext cx="1578900" cy="1095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r>
                <a:rPr lang="en-GB" b="1">
                  <a:solidFill>
                    <a:schemeClr val="dk1"/>
                  </a:solidFill>
                </a:rPr>
                <a:t>Resource constraints</a:t>
              </a:r>
              <a:endParaRPr lang="en-US">
                <a:solidFill>
                  <a:schemeClr val="dk1"/>
                </a:solidFill>
              </a:endParaRPr>
            </a:p>
          </p:txBody>
        </p:sp>
        <p:sp>
          <p:nvSpPr>
            <p:cNvPr id="1698" name="Google Shape;1628;g2e37ced3bdd_1_0">
              <a:extLst>
                <a:ext uri="{FF2B5EF4-FFF2-40B4-BE49-F238E27FC236}">
                  <a16:creationId xmlns:a16="http://schemas.microsoft.com/office/drawing/2014/main" id="{4EDB89B2-0F10-8370-E843-5DE35B0D55BD}"/>
                </a:ext>
              </a:extLst>
            </p:cNvPr>
            <p:cNvSpPr/>
            <p:nvPr/>
          </p:nvSpPr>
          <p:spPr>
            <a:xfrm>
              <a:off x="8654500" y="2613757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704" name="Google Shape;1629;g2e37ced3bdd_1_0">
              <a:extLst>
                <a:ext uri="{FF2B5EF4-FFF2-40B4-BE49-F238E27FC236}">
                  <a16:creationId xmlns:a16="http://schemas.microsoft.com/office/drawing/2014/main" id="{9B16E401-4474-4432-AFD1-856306ECA4C7}"/>
                </a:ext>
              </a:extLst>
            </p:cNvPr>
            <p:cNvGrpSpPr/>
            <p:nvPr/>
          </p:nvGrpSpPr>
          <p:grpSpPr>
            <a:xfrm>
              <a:off x="8688707" y="2647962"/>
              <a:ext cx="251993" cy="251992"/>
              <a:chOff x="3023672" y="13918477"/>
              <a:chExt cx="312180" cy="312180"/>
            </a:xfrm>
          </p:grpSpPr>
          <p:sp>
            <p:nvSpPr>
              <p:cNvPr id="1700" name="Google Shape;1630;g2e37ced3bdd_1_0">
                <a:extLst>
                  <a:ext uri="{FF2B5EF4-FFF2-40B4-BE49-F238E27FC236}">
                    <a16:creationId xmlns:a16="http://schemas.microsoft.com/office/drawing/2014/main" id="{D2C89B14-6D99-AE9F-49E1-F2B70A084BD4}"/>
                  </a:ext>
                </a:extLst>
              </p:cNvPr>
              <p:cNvSpPr/>
              <p:nvPr/>
            </p:nvSpPr>
            <p:spPr>
              <a:xfrm>
                <a:off x="3155816" y="13941756"/>
                <a:ext cx="47620" cy="84659"/>
              </a:xfrm>
              <a:custGeom>
                <a:avLst/>
                <a:gdLst/>
                <a:ahLst/>
                <a:cxnLst/>
                <a:rect l="l" t="t" r="r" b="b"/>
                <a:pathLst>
                  <a:path w="47620" h="84659" extrusionOk="0">
                    <a:moveTo>
                      <a:pt x="10718" y="86247"/>
                    </a:moveTo>
                    <a:lnTo>
                      <a:pt x="40877" y="86247"/>
                    </a:lnTo>
                    <a:cubicBezTo>
                      <a:pt x="47227" y="86247"/>
                      <a:pt x="51989" y="80955"/>
                      <a:pt x="51989" y="75136"/>
                    </a:cubicBezTo>
                    <a:lnTo>
                      <a:pt x="51989" y="59791"/>
                    </a:lnTo>
                    <a:cubicBezTo>
                      <a:pt x="51989" y="51326"/>
                      <a:pt x="47756" y="43389"/>
                      <a:pt x="41407" y="38626"/>
                    </a:cubicBezTo>
                    <a:cubicBezTo>
                      <a:pt x="44052" y="35452"/>
                      <a:pt x="45640" y="31219"/>
                      <a:pt x="45640" y="26456"/>
                    </a:cubicBezTo>
                    <a:lnTo>
                      <a:pt x="45640" y="19578"/>
                    </a:lnTo>
                    <a:cubicBezTo>
                      <a:pt x="45640" y="8466"/>
                      <a:pt x="36645" y="0"/>
                      <a:pt x="26062" y="0"/>
                    </a:cubicBezTo>
                    <a:cubicBezTo>
                      <a:pt x="14951" y="0"/>
                      <a:pt x="6485" y="8996"/>
                      <a:pt x="6485" y="19578"/>
                    </a:cubicBezTo>
                    <a:lnTo>
                      <a:pt x="6485" y="26456"/>
                    </a:lnTo>
                    <a:cubicBezTo>
                      <a:pt x="6485" y="31219"/>
                      <a:pt x="8072" y="34922"/>
                      <a:pt x="10718" y="38626"/>
                    </a:cubicBezTo>
                    <a:cubicBezTo>
                      <a:pt x="4368" y="43389"/>
                      <a:pt x="136" y="51326"/>
                      <a:pt x="136" y="59791"/>
                    </a:cubicBezTo>
                    <a:lnTo>
                      <a:pt x="136" y="75136"/>
                    </a:lnTo>
                    <a:cubicBezTo>
                      <a:pt x="-923" y="80955"/>
                      <a:pt x="4368" y="86247"/>
                      <a:pt x="10718" y="86247"/>
                    </a:cubicBezTo>
                    <a:close/>
                    <a:moveTo>
                      <a:pt x="39290" y="73019"/>
                    </a:moveTo>
                    <a:lnTo>
                      <a:pt x="12305" y="73019"/>
                    </a:lnTo>
                    <a:lnTo>
                      <a:pt x="12305" y="59791"/>
                    </a:lnTo>
                    <a:cubicBezTo>
                      <a:pt x="12305" y="52384"/>
                      <a:pt x="18125" y="46563"/>
                      <a:pt x="25533" y="46563"/>
                    </a:cubicBezTo>
                    <a:cubicBezTo>
                      <a:pt x="32941" y="46563"/>
                      <a:pt x="38761" y="52384"/>
                      <a:pt x="38761" y="59791"/>
                    </a:cubicBezTo>
                    <a:lnTo>
                      <a:pt x="38761" y="73019"/>
                    </a:lnTo>
                    <a:close/>
                    <a:moveTo>
                      <a:pt x="18655" y="26456"/>
                    </a:moveTo>
                    <a:lnTo>
                      <a:pt x="18655" y="19578"/>
                    </a:lnTo>
                    <a:cubicBezTo>
                      <a:pt x="18655" y="15874"/>
                      <a:pt x="21829" y="12700"/>
                      <a:pt x="25533" y="12700"/>
                    </a:cubicBezTo>
                    <a:cubicBezTo>
                      <a:pt x="29237" y="12700"/>
                      <a:pt x="32412" y="15874"/>
                      <a:pt x="32412" y="19578"/>
                    </a:cubicBezTo>
                    <a:lnTo>
                      <a:pt x="32412" y="26456"/>
                    </a:lnTo>
                    <a:cubicBezTo>
                      <a:pt x="32412" y="30161"/>
                      <a:pt x="29237" y="33335"/>
                      <a:pt x="25533" y="33335"/>
                    </a:cubicBezTo>
                    <a:cubicBezTo>
                      <a:pt x="21829" y="33335"/>
                      <a:pt x="18655" y="30161"/>
                      <a:pt x="18655" y="2645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1" name="Google Shape;1631;g2e37ced3bdd_1_0">
                <a:extLst>
                  <a:ext uri="{FF2B5EF4-FFF2-40B4-BE49-F238E27FC236}">
                    <a16:creationId xmlns:a16="http://schemas.microsoft.com/office/drawing/2014/main" id="{06F6D1CC-F629-5ACC-4EF4-E737C7191E73}"/>
                  </a:ext>
                </a:extLst>
              </p:cNvPr>
              <p:cNvSpPr/>
              <p:nvPr/>
            </p:nvSpPr>
            <p:spPr>
              <a:xfrm>
                <a:off x="3065472" y="14122188"/>
                <a:ext cx="47620" cy="84659"/>
              </a:xfrm>
              <a:custGeom>
                <a:avLst/>
                <a:gdLst/>
                <a:ahLst/>
                <a:cxnLst/>
                <a:rect l="l" t="t" r="r" b="b"/>
                <a:pathLst>
                  <a:path w="47620" h="84659" extrusionOk="0">
                    <a:moveTo>
                      <a:pt x="41271" y="38626"/>
                    </a:moveTo>
                    <a:cubicBezTo>
                      <a:pt x="43917" y="35451"/>
                      <a:pt x="45504" y="31218"/>
                      <a:pt x="45504" y="26456"/>
                    </a:cubicBezTo>
                    <a:lnTo>
                      <a:pt x="45504" y="19577"/>
                    </a:lnTo>
                    <a:cubicBezTo>
                      <a:pt x="45504" y="8466"/>
                      <a:pt x="36509" y="0"/>
                      <a:pt x="25927" y="0"/>
                    </a:cubicBezTo>
                    <a:cubicBezTo>
                      <a:pt x="14815" y="0"/>
                      <a:pt x="6349" y="8995"/>
                      <a:pt x="6349" y="19577"/>
                    </a:cubicBezTo>
                    <a:lnTo>
                      <a:pt x="6349" y="26456"/>
                    </a:lnTo>
                    <a:cubicBezTo>
                      <a:pt x="6349" y="31218"/>
                      <a:pt x="7937" y="34922"/>
                      <a:pt x="10582" y="38626"/>
                    </a:cubicBezTo>
                    <a:cubicBezTo>
                      <a:pt x="4233" y="43388"/>
                      <a:pt x="0" y="51324"/>
                      <a:pt x="0" y="59791"/>
                    </a:cubicBezTo>
                    <a:lnTo>
                      <a:pt x="0" y="75135"/>
                    </a:lnTo>
                    <a:cubicBezTo>
                      <a:pt x="0" y="81484"/>
                      <a:pt x="5291" y="86247"/>
                      <a:pt x="11112" y="86247"/>
                    </a:cubicBezTo>
                    <a:lnTo>
                      <a:pt x="41271" y="86247"/>
                    </a:lnTo>
                    <a:cubicBezTo>
                      <a:pt x="47621" y="86247"/>
                      <a:pt x="52383" y="80955"/>
                      <a:pt x="52383" y="75135"/>
                    </a:cubicBezTo>
                    <a:lnTo>
                      <a:pt x="52383" y="59791"/>
                    </a:lnTo>
                    <a:cubicBezTo>
                      <a:pt x="51854" y="51324"/>
                      <a:pt x="47621" y="43917"/>
                      <a:pt x="41271" y="38626"/>
                    </a:cubicBezTo>
                    <a:close/>
                    <a:moveTo>
                      <a:pt x="18519" y="26986"/>
                    </a:moveTo>
                    <a:lnTo>
                      <a:pt x="18519" y="20107"/>
                    </a:lnTo>
                    <a:cubicBezTo>
                      <a:pt x="18519" y="16403"/>
                      <a:pt x="21694" y="13228"/>
                      <a:pt x="25398" y="13228"/>
                    </a:cubicBezTo>
                    <a:cubicBezTo>
                      <a:pt x="29102" y="13228"/>
                      <a:pt x="32276" y="16403"/>
                      <a:pt x="32276" y="20107"/>
                    </a:cubicBezTo>
                    <a:lnTo>
                      <a:pt x="32276" y="26986"/>
                    </a:lnTo>
                    <a:cubicBezTo>
                      <a:pt x="32276" y="30689"/>
                      <a:pt x="29102" y="33863"/>
                      <a:pt x="25398" y="33863"/>
                    </a:cubicBezTo>
                    <a:cubicBezTo>
                      <a:pt x="21694" y="33863"/>
                      <a:pt x="18519" y="30689"/>
                      <a:pt x="18519" y="26986"/>
                    </a:cubicBezTo>
                    <a:close/>
                    <a:moveTo>
                      <a:pt x="39155" y="73547"/>
                    </a:moveTo>
                    <a:lnTo>
                      <a:pt x="12170" y="73547"/>
                    </a:lnTo>
                    <a:lnTo>
                      <a:pt x="12170" y="60319"/>
                    </a:lnTo>
                    <a:cubicBezTo>
                      <a:pt x="12170" y="52912"/>
                      <a:pt x="17990" y="47091"/>
                      <a:pt x="25398" y="47091"/>
                    </a:cubicBezTo>
                    <a:cubicBezTo>
                      <a:pt x="32805" y="47091"/>
                      <a:pt x="38626" y="52912"/>
                      <a:pt x="38626" y="60319"/>
                    </a:cubicBezTo>
                    <a:lnTo>
                      <a:pt x="38626" y="735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2" name="Google Shape;1632;g2e37ced3bdd_1_0">
                <a:extLst>
                  <a:ext uri="{FF2B5EF4-FFF2-40B4-BE49-F238E27FC236}">
                    <a16:creationId xmlns:a16="http://schemas.microsoft.com/office/drawing/2014/main" id="{B178B303-6CC2-2813-128A-176C6E922C84}"/>
                  </a:ext>
                </a:extLst>
              </p:cNvPr>
              <p:cNvSpPr/>
              <p:nvPr/>
            </p:nvSpPr>
            <p:spPr>
              <a:xfrm>
                <a:off x="3023672" y="13918477"/>
                <a:ext cx="312180" cy="312180"/>
              </a:xfrm>
              <a:custGeom>
                <a:avLst/>
                <a:gdLst/>
                <a:ahLst/>
                <a:cxnLst/>
                <a:rect l="l" t="t" r="r" b="b"/>
                <a:pathLst>
                  <a:path w="312180" h="312180" extrusionOk="0">
                    <a:moveTo>
                      <a:pt x="252390" y="180958"/>
                    </a:moveTo>
                    <a:lnTo>
                      <a:pt x="210589" y="106882"/>
                    </a:lnTo>
                    <a:cubicBezTo>
                      <a:pt x="219055" y="95771"/>
                      <a:pt x="224346" y="82013"/>
                      <a:pt x="224346" y="66670"/>
                    </a:cubicBezTo>
                    <a:cubicBezTo>
                      <a:pt x="224346" y="29631"/>
                      <a:pt x="194186" y="0"/>
                      <a:pt x="157677" y="0"/>
                    </a:cubicBezTo>
                    <a:cubicBezTo>
                      <a:pt x="120639" y="0"/>
                      <a:pt x="91008" y="30160"/>
                      <a:pt x="91008" y="66670"/>
                    </a:cubicBezTo>
                    <a:cubicBezTo>
                      <a:pt x="91008" y="82013"/>
                      <a:pt x="96299" y="95771"/>
                      <a:pt x="104766" y="106882"/>
                    </a:cubicBezTo>
                    <a:lnTo>
                      <a:pt x="62965" y="180958"/>
                    </a:lnTo>
                    <a:cubicBezTo>
                      <a:pt x="28043" y="183076"/>
                      <a:pt x="0" y="211648"/>
                      <a:pt x="0" y="247098"/>
                    </a:cubicBezTo>
                    <a:cubicBezTo>
                      <a:pt x="0" y="284137"/>
                      <a:pt x="30160" y="313768"/>
                      <a:pt x="66669" y="313768"/>
                    </a:cubicBezTo>
                    <a:cubicBezTo>
                      <a:pt x="101062" y="313768"/>
                      <a:pt x="129634" y="287312"/>
                      <a:pt x="132809" y="253448"/>
                    </a:cubicBezTo>
                    <a:lnTo>
                      <a:pt x="181488" y="253448"/>
                    </a:lnTo>
                    <a:cubicBezTo>
                      <a:pt x="184662" y="287312"/>
                      <a:pt x="213235" y="313768"/>
                      <a:pt x="247628" y="313768"/>
                    </a:cubicBezTo>
                    <a:cubicBezTo>
                      <a:pt x="284666" y="313768"/>
                      <a:pt x="314297" y="283608"/>
                      <a:pt x="314297" y="247098"/>
                    </a:cubicBezTo>
                    <a:cubicBezTo>
                      <a:pt x="315355" y="211648"/>
                      <a:pt x="287312" y="183076"/>
                      <a:pt x="252390" y="180958"/>
                    </a:cubicBezTo>
                    <a:close/>
                    <a:moveTo>
                      <a:pt x="104236" y="66140"/>
                    </a:moveTo>
                    <a:cubicBezTo>
                      <a:pt x="104236" y="36509"/>
                      <a:pt x="128576" y="12170"/>
                      <a:pt x="158206" y="12170"/>
                    </a:cubicBezTo>
                    <a:cubicBezTo>
                      <a:pt x="187837" y="12170"/>
                      <a:pt x="212177" y="36509"/>
                      <a:pt x="212177" y="66140"/>
                    </a:cubicBezTo>
                    <a:cubicBezTo>
                      <a:pt x="212177" y="95771"/>
                      <a:pt x="187837" y="120110"/>
                      <a:pt x="158206" y="120110"/>
                    </a:cubicBezTo>
                    <a:cubicBezTo>
                      <a:pt x="128047" y="120110"/>
                      <a:pt x="104236" y="95771"/>
                      <a:pt x="104236" y="66140"/>
                    </a:cubicBezTo>
                    <a:close/>
                    <a:moveTo>
                      <a:pt x="114290" y="116406"/>
                    </a:moveTo>
                    <a:cubicBezTo>
                      <a:pt x="125930" y="126459"/>
                      <a:pt x="141275" y="132809"/>
                      <a:pt x="157677" y="132809"/>
                    </a:cubicBezTo>
                    <a:cubicBezTo>
                      <a:pt x="174609" y="132809"/>
                      <a:pt x="189425" y="126459"/>
                      <a:pt x="201065" y="116406"/>
                    </a:cubicBezTo>
                    <a:lnTo>
                      <a:pt x="237574" y="181488"/>
                    </a:lnTo>
                    <a:cubicBezTo>
                      <a:pt x="207944" y="186250"/>
                      <a:pt x="184662" y="210590"/>
                      <a:pt x="182017" y="240749"/>
                    </a:cubicBezTo>
                    <a:lnTo>
                      <a:pt x="133338" y="240749"/>
                    </a:lnTo>
                    <a:cubicBezTo>
                      <a:pt x="130163" y="210590"/>
                      <a:pt x="107411" y="186250"/>
                      <a:pt x="77780" y="181488"/>
                    </a:cubicBezTo>
                    <a:lnTo>
                      <a:pt x="114290" y="116406"/>
                    </a:lnTo>
                    <a:close/>
                    <a:moveTo>
                      <a:pt x="67198" y="301068"/>
                    </a:moveTo>
                    <a:cubicBezTo>
                      <a:pt x="37567" y="301068"/>
                      <a:pt x="13228" y="276730"/>
                      <a:pt x="13228" y="247098"/>
                    </a:cubicBezTo>
                    <a:cubicBezTo>
                      <a:pt x="13228" y="217468"/>
                      <a:pt x="37567" y="193128"/>
                      <a:pt x="67198" y="193128"/>
                    </a:cubicBezTo>
                    <a:cubicBezTo>
                      <a:pt x="96829" y="193128"/>
                      <a:pt x="121168" y="217468"/>
                      <a:pt x="121168" y="247098"/>
                    </a:cubicBezTo>
                    <a:cubicBezTo>
                      <a:pt x="121168" y="276730"/>
                      <a:pt x="96829" y="301068"/>
                      <a:pt x="67198" y="301068"/>
                    </a:cubicBezTo>
                    <a:close/>
                    <a:moveTo>
                      <a:pt x="248157" y="301068"/>
                    </a:moveTo>
                    <a:cubicBezTo>
                      <a:pt x="218526" y="301068"/>
                      <a:pt x="194186" y="276730"/>
                      <a:pt x="194186" y="247098"/>
                    </a:cubicBezTo>
                    <a:cubicBezTo>
                      <a:pt x="194186" y="217468"/>
                      <a:pt x="218526" y="193128"/>
                      <a:pt x="248157" y="193128"/>
                    </a:cubicBezTo>
                    <a:cubicBezTo>
                      <a:pt x="277787" y="193128"/>
                      <a:pt x="302127" y="217468"/>
                      <a:pt x="302127" y="247098"/>
                    </a:cubicBezTo>
                    <a:cubicBezTo>
                      <a:pt x="302127" y="276730"/>
                      <a:pt x="277787" y="301068"/>
                      <a:pt x="248157" y="30106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3" name="Google Shape;1633;g2e37ced3bdd_1_0">
                <a:extLst>
                  <a:ext uri="{FF2B5EF4-FFF2-40B4-BE49-F238E27FC236}">
                    <a16:creationId xmlns:a16="http://schemas.microsoft.com/office/drawing/2014/main" id="{63978792-F871-D2A4-4D47-1BFCF986569A}"/>
                  </a:ext>
                </a:extLst>
              </p:cNvPr>
              <p:cNvSpPr/>
              <p:nvPr/>
            </p:nvSpPr>
            <p:spPr>
              <a:xfrm>
                <a:off x="3246431" y="14122188"/>
                <a:ext cx="47620" cy="84659"/>
              </a:xfrm>
              <a:custGeom>
                <a:avLst/>
                <a:gdLst/>
                <a:ahLst/>
                <a:cxnLst/>
                <a:rect l="l" t="t" r="r" b="b"/>
                <a:pathLst>
                  <a:path w="47620" h="84659" extrusionOk="0">
                    <a:moveTo>
                      <a:pt x="41271" y="38626"/>
                    </a:moveTo>
                    <a:cubicBezTo>
                      <a:pt x="43917" y="35451"/>
                      <a:pt x="45504" y="31218"/>
                      <a:pt x="45504" y="26456"/>
                    </a:cubicBezTo>
                    <a:lnTo>
                      <a:pt x="45504" y="19577"/>
                    </a:lnTo>
                    <a:cubicBezTo>
                      <a:pt x="45504" y="8466"/>
                      <a:pt x="36509" y="0"/>
                      <a:pt x="25927" y="0"/>
                    </a:cubicBezTo>
                    <a:cubicBezTo>
                      <a:pt x="14815" y="0"/>
                      <a:pt x="6349" y="8995"/>
                      <a:pt x="6349" y="19577"/>
                    </a:cubicBezTo>
                    <a:lnTo>
                      <a:pt x="6349" y="26456"/>
                    </a:lnTo>
                    <a:cubicBezTo>
                      <a:pt x="6349" y="31218"/>
                      <a:pt x="7937" y="34922"/>
                      <a:pt x="10582" y="38626"/>
                    </a:cubicBezTo>
                    <a:cubicBezTo>
                      <a:pt x="4233" y="43388"/>
                      <a:pt x="0" y="51324"/>
                      <a:pt x="0" y="59791"/>
                    </a:cubicBezTo>
                    <a:lnTo>
                      <a:pt x="0" y="75135"/>
                    </a:lnTo>
                    <a:cubicBezTo>
                      <a:pt x="0" y="81484"/>
                      <a:pt x="5291" y="86247"/>
                      <a:pt x="11111" y="86247"/>
                    </a:cubicBezTo>
                    <a:lnTo>
                      <a:pt x="41271" y="86247"/>
                    </a:lnTo>
                    <a:cubicBezTo>
                      <a:pt x="47621" y="86247"/>
                      <a:pt x="52383" y="80955"/>
                      <a:pt x="52383" y="75135"/>
                    </a:cubicBezTo>
                    <a:lnTo>
                      <a:pt x="52383" y="59791"/>
                    </a:lnTo>
                    <a:cubicBezTo>
                      <a:pt x="51854" y="51324"/>
                      <a:pt x="47621" y="43917"/>
                      <a:pt x="41271" y="38626"/>
                    </a:cubicBezTo>
                    <a:close/>
                    <a:moveTo>
                      <a:pt x="18519" y="26986"/>
                    </a:moveTo>
                    <a:lnTo>
                      <a:pt x="18519" y="20107"/>
                    </a:lnTo>
                    <a:cubicBezTo>
                      <a:pt x="18519" y="16403"/>
                      <a:pt x="21694" y="13228"/>
                      <a:pt x="25398" y="13228"/>
                    </a:cubicBezTo>
                    <a:cubicBezTo>
                      <a:pt x="29102" y="13228"/>
                      <a:pt x="32276" y="16403"/>
                      <a:pt x="32276" y="20107"/>
                    </a:cubicBezTo>
                    <a:lnTo>
                      <a:pt x="32276" y="26986"/>
                    </a:lnTo>
                    <a:cubicBezTo>
                      <a:pt x="32276" y="30689"/>
                      <a:pt x="29102" y="33863"/>
                      <a:pt x="25398" y="33863"/>
                    </a:cubicBezTo>
                    <a:cubicBezTo>
                      <a:pt x="21694" y="33863"/>
                      <a:pt x="18519" y="30689"/>
                      <a:pt x="18519" y="26986"/>
                    </a:cubicBezTo>
                    <a:close/>
                    <a:moveTo>
                      <a:pt x="39155" y="73547"/>
                    </a:moveTo>
                    <a:lnTo>
                      <a:pt x="12170" y="73547"/>
                    </a:lnTo>
                    <a:lnTo>
                      <a:pt x="12170" y="60319"/>
                    </a:lnTo>
                    <a:cubicBezTo>
                      <a:pt x="12170" y="52912"/>
                      <a:pt x="17990" y="47091"/>
                      <a:pt x="25398" y="47091"/>
                    </a:cubicBezTo>
                    <a:cubicBezTo>
                      <a:pt x="32805" y="47091"/>
                      <a:pt x="38626" y="52912"/>
                      <a:pt x="38626" y="60319"/>
                    </a:cubicBezTo>
                    <a:lnTo>
                      <a:pt x="38626" y="735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77F1F6D-3C84-BFB2-C466-90E3CE8C7D7D}"/>
              </a:ext>
            </a:extLst>
          </p:cNvPr>
          <p:cNvGrpSpPr/>
          <p:nvPr/>
        </p:nvGrpSpPr>
        <p:grpSpPr>
          <a:xfrm>
            <a:off x="7538676" y="1165708"/>
            <a:ext cx="3132131" cy="1289412"/>
            <a:chOff x="7147379" y="897978"/>
            <a:chExt cx="3132131" cy="1289412"/>
          </a:xfrm>
        </p:grpSpPr>
        <p:grpSp>
          <p:nvGrpSpPr>
            <p:cNvPr id="34" name="Google Shape;1565;g2e37ced3bdd_1_0">
              <a:extLst>
                <a:ext uri="{FF2B5EF4-FFF2-40B4-BE49-F238E27FC236}">
                  <a16:creationId xmlns:a16="http://schemas.microsoft.com/office/drawing/2014/main" id="{82CB2377-5EEE-7613-0B27-38EFD38EB5BB}"/>
                </a:ext>
              </a:extLst>
            </p:cNvPr>
            <p:cNvGrpSpPr/>
            <p:nvPr/>
          </p:nvGrpSpPr>
          <p:grpSpPr>
            <a:xfrm>
              <a:off x="7147379" y="897978"/>
              <a:ext cx="3132131" cy="1289412"/>
              <a:chOff x="7410579" y="1013871"/>
              <a:chExt cx="3132131" cy="1289412"/>
            </a:xfrm>
          </p:grpSpPr>
          <p:sp>
            <p:nvSpPr>
              <p:cNvPr id="30" name="Google Shape;1566;g2e37ced3bdd_1_0">
                <a:extLst>
                  <a:ext uri="{FF2B5EF4-FFF2-40B4-BE49-F238E27FC236}">
                    <a16:creationId xmlns:a16="http://schemas.microsoft.com/office/drawing/2014/main" id="{F76C2590-D338-43D1-157D-6C4F7E4569D0}"/>
                  </a:ext>
                </a:extLst>
              </p:cNvPr>
              <p:cNvSpPr/>
              <p:nvPr/>
            </p:nvSpPr>
            <p:spPr>
              <a:xfrm>
                <a:off x="7502510" y="1031063"/>
                <a:ext cx="3040200" cy="1120800"/>
              </a:xfrm>
              <a:prstGeom prst="roundRect">
                <a:avLst>
                  <a:gd name="adj" fmla="val 16667"/>
                </a:avLst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1567;g2e37ced3bdd_1_0">
                <a:extLst>
                  <a:ext uri="{FF2B5EF4-FFF2-40B4-BE49-F238E27FC236}">
                    <a16:creationId xmlns:a16="http://schemas.microsoft.com/office/drawing/2014/main" id="{4623E227-949B-3319-7F58-E1612A3C74B7}"/>
                  </a:ext>
                </a:extLst>
              </p:cNvPr>
              <p:cNvSpPr/>
              <p:nvPr/>
            </p:nvSpPr>
            <p:spPr>
              <a:xfrm>
                <a:off x="7652614" y="1203620"/>
                <a:ext cx="736500" cy="7377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" name="Google Shape;1568;g2e37ced3bdd_1_0">
                <a:extLst>
                  <a:ext uri="{FF2B5EF4-FFF2-40B4-BE49-F238E27FC236}">
                    <a16:creationId xmlns:a16="http://schemas.microsoft.com/office/drawing/2014/main" id="{93DB8227-244D-3012-EADF-377A6D63193B}"/>
                  </a:ext>
                </a:extLst>
              </p:cNvPr>
              <p:cNvSpPr/>
              <p:nvPr/>
            </p:nvSpPr>
            <p:spPr>
              <a:xfrm>
                <a:off x="8624175" y="1013871"/>
                <a:ext cx="1615770" cy="11569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n-GB" b="1">
                    <a:solidFill>
                      <a:schemeClr val="dk1"/>
                    </a:solidFill>
                    <a:cs typeface="Arial"/>
                  </a:rPr>
                  <a:t>New model</a:t>
                </a:r>
              </a:p>
            </p:txBody>
          </p:sp>
          <p:sp>
            <p:nvSpPr>
              <p:cNvPr id="33" name="Google Shape;1569;g2e37ced3bdd_1_0">
                <a:extLst>
                  <a:ext uri="{FF2B5EF4-FFF2-40B4-BE49-F238E27FC236}">
                    <a16:creationId xmlns:a16="http://schemas.microsoft.com/office/drawing/2014/main" id="{7EEFBAA2-630C-F127-1A78-E8E222D9A19B}"/>
                  </a:ext>
                </a:extLst>
              </p:cNvPr>
              <p:cNvSpPr/>
              <p:nvPr/>
            </p:nvSpPr>
            <p:spPr>
              <a:xfrm rot="-8833108">
                <a:off x="7410579" y="1882790"/>
                <a:ext cx="267621" cy="420493"/>
              </a:xfrm>
              <a:prstGeom prst="triangle">
                <a:avLst>
                  <a:gd name="adj" fmla="val 50000"/>
                </a:avLst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696" name="Google Shape;1627;g2e37ced3bdd_1_0">
              <a:extLst>
                <a:ext uri="{FF2B5EF4-FFF2-40B4-BE49-F238E27FC236}">
                  <a16:creationId xmlns:a16="http://schemas.microsoft.com/office/drawing/2014/main" id="{751F7BA5-50EF-FC72-21E3-A0847100B208}"/>
                </a:ext>
              </a:extLst>
            </p:cNvPr>
            <p:cNvSpPr/>
            <p:nvPr/>
          </p:nvSpPr>
          <p:spPr>
            <a:xfrm>
              <a:off x="7590875" y="1297632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662;g2e37ced3bdd_1_0">
              <a:extLst>
                <a:ext uri="{FF2B5EF4-FFF2-40B4-BE49-F238E27FC236}">
                  <a16:creationId xmlns:a16="http://schemas.microsoft.com/office/drawing/2014/main" id="{88AF9C8B-26AF-B4FF-BA07-5B818C7FCB72}"/>
                </a:ext>
              </a:extLst>
            </p:cNvPr>
            <p:cNvSpPr/>
            <p:nvPr/>
          </p:nvSpPr>
          <p:spPr>
            <a:xfrm>
              <a:off x="7625606" y="1345062"/>
              <a:ext cx="252368" cy="251542"/>
            </a:xfrm>
            <a:custGeom>
              <a:avLst/>
              <a:gdLst/>
              <a:ahLst/>
              <a:cxnLst/>
              <a:rect l="l" t="t" r="r" b="b"/>
              <a:pathLst>
                <a:path w="736841" h="508166" extrusionOk="0">
                  <a:moveTo>
                    <a:pt x="463702" y="401453"/>
                  </a:moveTo>
                  <a:cubicBezTo>
                    <a:pt x="454809" y="407805"/>
                    <a:pt x="448457" y="417967"/>
                    <a:pt x="444646" y="428131"/>
                  </a:cubicBezTo>
                  <a:lnTo>
                    <a:pt x="280762" y="406533"/>
                  </a:lnTo>
                  <a:cubicBezTo>
                    <a:pt x="280762" y="400181"/>
                    <a:pt x="279492" y="392559"/>
                    <a:pt x="276951" y="386207"/>
                  </a:cubicBezTo>
                  <a:lnTo>
                    <a:pt x="378584" y="287115"/>
                  </a:lnTo>
                  <a:cubicBezTo>
                    <a:pt x="390018" y="297278"/>
                    <a:pt x="403993" y="302360"/>
                    <a:pt x="417967" y="302360"/>
                  </a:cubicBezTo>
                  <a:cubicBezTo>
                    <a:pt x="430671" y="302360"/>
                    <a:pt x="444646" y="298548"/>
                    <a:pt x="456080" y="289656"/>
                  </a:cubicBezTo>
                  <a:cubicBezTo>
                    <a:pt x="468784" y="279492"/>
                    <a:pt x="477677" y="265517"/>
                    <a:pt x="478947" y="249003"/>
                  </a:cubicBezTo>
                  <a:cubicBezTo>
                    <a:pt x="481488" y="232487"/>
                    <a:pt x="476406" y="217242"/>
                    <a:pt x="466243" y="203267"/>
                  </a:cubicBezTo>
                  <a:cubicBezTo>
                    <a:pt x="456080" y="190563"/>
                    <a:pt x="442105" y="181670"/>
                    <a:pt x="425590" y="180400"/>
                  </a:cubicBezTo>
                  <a:cubicBezTo>
                    <a:pt x="409074" y="177858"/>
                    <a:pt x="393829" y="182940"/>
                    <a:pt x="379855" y="193104"/>
                  </a:cubicBezTo>
                  <a:cubicBezTo>
                    <a:pt x="358257" y="209619"/>
                    <a:pt x="351905" y="237569"/>
                    <a:pt x="360798" y="261707"/>
                  </a:cubicBezTo>
                  <a:lnTo>
                    <a:pt x="259165" y="360799"/>
                  </a:lnTo>
                  <a:cubicBezTo>
                    <a:pt x="237568" y="341742"/>
                    <a:pt x="204537" y="340472"/>
                    <a:pt x="181670" y="359529"/>
                  </a:cubicBezTo>
                  <a:cubicBezTo>
                    <a:pt x="181670" y="359529"/>
                    <a:pt x="181670" y="359529"/>
                    <a:pt x="181670" y="359529"/>
                  </a:cubicBezTo>
                  <a:cubicBezTo>
                    <a:pt x="154991" y="379855"/>
                    <a:pt x="149909" y="419238"/>
                    <a:pt x="171506" y="445918"/>
                  </a:cubicBezTo>
                  <a:cubicBezTo>
                    <a:pt x="181670" y="458622"/>
                    <a:pt x="195644" y="467514"/>
                    <a:pt x="212160" y="468784"/>
                  </a:cubicBezTo>
                  <a:cubicBezTo>
                    <a:pt x="214700" y="468784"/>
                    <a:pt x="217241" y="468784"/>
                    <a:pt x="219782" y="468784"/>
                  </a:cubicBezTo>
                  <a:cubicBezTo>
                    <a:pt x="233757" y="468784"/>
                    <a:pt x="246461" y="463702"/>
                    <a:pt x="257895" y="456080"/>
                  </a:cubicBezTo>
                  <a:cubicBezTo>
                    <a:pt x="264247" y="450998"/>
                    <a:pt x="270599" y="444646"/>
                    <a:pt x="274410" y="437024"/>
                  </a:cubicBezTo>
                  <a:lnTo>
                    <a:pt x="442105" y="458622"/>
                  </a:lnTo>
                  <a:cubicBezTo>
                    <a:pt x="443375" y="468784"/>
                    <a:pt x="447187" y="478948"/>
                    <a:pt x="454809" y="487840"/>
                  </a:cubicBezTo>
                  <a:cubicBezTo>
                    <a:pt x="464972" y="500544"/>
                    <a:pt x="478947" y="509438"/>
                    <a:pt x="495463" y="510708"/>
                  </a:cubicBezTo>
                  <a:cubicBezTo>
                    <a:pt x="498003" y="510708"/>
                    <a:pt x="500544" y="510708"/>
                    <a:pt x="503085" y="510708"/>
                  </a:cubicBezTo>
                  <a:cubicBezTo>
                    <a:pt x="517060" y="510708"/>
                    <a:pt x="529764" y="505626"/>
                    <a:pt x="541197" y="498004"/>
                  </a:cubicBezTo>
                  <a:cubicBezTo>
                    <a:pt x="567876" y="477678"/>
                    <a:pt x="572958" y="438294"/>
                    <a:pt x="551361" y="411615"/>
                  </a:cubicBezTo>
                  <a:cubicBezTo>
                    <a:pt x="528493" y="384937"/>
                    <a:pt x="490381" y="379855"/>
                    <a:pt x="463702" y="401453"/>
                  </a:cubicBezTo>
                  <a:close/>
                  <a:moveTo>
                    <a:pt x="398911" y="214701"/>
                  </a:moveTo>
                  <a:lnTo>
                    <a:pt x="398911" y="214701"/>
                  </a:lnTo>
                  <a:cubicBezTo>
                    <a:pt x="403993" y="210890"/>
                    <a:pt x="410345" y="208349"/>
                    <a:pt x="417967" y="208349"/>
                  </a:cubicBezTo>
                  <a:cubicBezTo>
                    <a:pt x="419238" y="208349"/>
                    <a:pt x="420508" y="208349"/>
                    <a:pt x="421778" y="208349"/>
                  </a:cubicBezTo>
                  <a:cubicBezTo>
                    <a:pt x="429401" y="209619"/>
                    <a:pt x="437023" y="213431"/>
                    <a:pt x="442105" y="219783"/>
                  </a:cubicBezTo>
                  <a:cubicBezTo>
                    <a:pt x="447187" y="226135"/>
                    <a:pt x="449727" y="233757"/>
                    <a:pt x="448457" y="242651"/>
                  </a:cubicBezTo>
                  <a:cubicBezTo>
                    <a:pt x="447187" y="250273"/>
                    <a:pt x="443375" y="257895"/>
                    <a:pt x="437023" y="262977"/>
                  </a:cubicBezTo>
                  <a:cubicBezTo>
                    <a:pt x="424319" y="273140"/>
                    <a:pt x="403993" y="270599"/>
                    <a:pt x="393829" y="257895"/>
                  </a:cubicBezTo>
                  <a:cubicBezTo>
                    <a:pt x="383666" y="245191"/>
                    <a:pt x="386207" y="224865"/>
                    <a:pt x="398911" y="214701"/>
                  </a:cubicBezTo>
                  <a:close/>
                  <a:moveTo>
                    <a:pt x="238838" y="430672"/>
                  </a:moveTo>
                  <a:cubicBezTo>
                    <a:pt x="232486" y="435754"/>
                    <a:pt x="224864" y="438294"/>
                    <a:pt x="215971" y="437024"/>
                  </a:cubicBezTo>
                  <a:cubicBezTo>
                    <a:pt x="208348" y="435754"/>
                    <a:pt x="200726" y="431942"/>
                    <a:pt x="195644" y="425590"/>
                  </a:cubicBezTo>
                  <a:cubicBezTo>
                    <a:pt x="185481" y="412885"/>
                    <a:pt x="188022" y="392559"/>
                    <a:pt x="200726" y="382397"/>
                  </a:cubicBezTo>
                  <a:cubicBezTo>
                    <a:pt x="213430" y="372233"/>
                    <a:pt x="233757" y="374773"/>
                    <a:pt x="243920" y="387477"/>
                  </a:cubicBezTo>
                  <a:cubicBezTo>
                    <a:pt x="249002" y="393829"/>
                    <a:pt x="251543" y="401453"/>
                    <a:pt x="250272" y="410345"/>
                  </a:cubicBezTo>
                  <a:cubicBezTo>
                    <a:pt x="249002" y="417967"/>
                    <a:pt x="245190" y="425590"/>
                    <a:pt x="238838" y="430672"/>
                  </a:cubicBezTo>
                  <a:close/>
                  <a:moveTo>
                    <a:pt x="519600" y="472596"/>
                  </a:moveTo>
                  <a:cubicBezTo>
                    <a:pt x="513248" y="477678"/>
                    <a:pt x="505626" y="480218"/>
                    <a:pt x="496733" y="478948"/>
                  </a:cubicBezTo>
                  <a:cubicBezTo>
                    <a:pt x="489110" y="477678"/>
                    <a:pt x="481488" y="473866"/>
                    <a:pt x="476406" y="467514"/>
                  </a:cubicBezTo>
                  <a:cubicBezTo>
                    <a:pt x="471324" y="461162"/>
                    <a:pt x="468784" y="453540"/>
                    <a:pt x="470054" y="444646"/>
                  </a:cubicBezTo>
                  <a:cubicBezTo>
                    <a:pt x="471324" y="437024"/>
                    <a:pt x="475136" y="429401"/>
                    <a:pt x="481488" y="424319"/>
                  </a:cubicBezTo>
                  <a:lnTo>
                    <a:pt x="481488" y="424319"/>
                  </a:lnTo>
                  <a:cubicBezTo>
                    <a:pt x="486570" y="420509"/>
                    <a:pt x="492922" y="417967"/>
                    <a:pt x="500544" y="417967"/>
                  </a:cubicBezTo>
                  <a:cubicBezTo>
                    <a:pt x="501815" y="417967"/>
                    <a:pt x="503085" y="417967"/>
                    <a:pt x="504355" y="417967"/>
                  </a:cubicBezTo>
                  <a:cubicBezTo>
                    <a:pt x="511978" y="419238"/>
                    <a:pt x="519600" y="423049"/>
                    <a:pt x="524682" y="429401"/>
                  </a:cubicBezTo>
                  <a:cubicBezTo>
                    <a:pt x="536116" y="443376"/>
                    <a:pt x="533575" y="462432"/>
                    <a:pt x="519600" y="472596"/>
                  </a:cubicBezTo>
                  <a:close/>
                  <a:moveTo>
                    <a:pt x="738112" y="302360"/>
                  </a:moveTo>
                  <a:cubicBezTo>
                    <a:pt x="738112" y="336660"/>
                    <a:pt x="725408" y="373503"/>
                    <a:pt x="705081" y="393829"/>
                  </a:cubicBezTo>
                  <a:cubicBezTo>
                    <a:pt x="702540" y="396371"/>
                    <a:pt x="698729" y="398911"/>
                    <a:pt x="693647" y="398911"/>
                  </a:cubicBezTo>
                  <a:lnTo>
                    <a:pt x="618693" y="398911"/>
                  </a:lnTo>
                  <a:cubicBezTo>
                    <a:pt x="618693" y="398911"/>
                    <a:pt x="618693" y="398911"/>
                    <a:pt x="618693" y="398911"/>
                  </a:cubicBezTo>
                  <a:cubicBezTo>
                    <a:pt x="609800" y="398911"/>
                    <a:pt x="603448" y="392559"/>
                    <a:pt x="603448" y="383667"/>
                  </a:cubicBezTo>
                  <a:cubicBezTo>
                    <a:pt x="603448" y="374773"/>
                    <a:pt x="609800" y="368421"/>
                    <a:pt x="618693" y="368421"/>
                  </a:cubicBezTo>
                  <a:lnTo>
                    <a:pt x="686025" y="368421"/>
                  </a:lnTo>
                  <a:cubicBezTo>
                    <a:pt x="698729" y="351906"/>
                    <a:pt x="706352" y="325228"/>
                    <a:pt x="706352" y="302360"/>
                  </a:cubicBezTo>
                  <a:cubicBezTo>
                    <a:pt x="706352" y="252813"/>
                    <a:pt x="665698" y="210890"/>
                    <a:pt x="614882" y="210890"/>
                  </a:cubicBezTo>
                  <a:cubicBezTo>
                    <a:pt x="605989" y="210890"/>
                    <a:pt x="599637" y="204538"/>
                    <a:pt x="599637" y="195644"/>
                  </a:cubicBezTo>
                  <a:cubicBezTo>
                    <a:pt x="599637" y="104175"/>
                    <a:pt x="525952" y="30490"/>
                    <a:pt x="435753" y="30490"/>
                  </a:cubicBezTo>
                  <a:cubicBezTo>
                    <a:pt x="388747" y="30490"/>
                    <a:pt x="343013" y="52088"/>
                    <a:pt x="312522" y="87659"/>
                  </a:cubicBezTo>
                  <a:cubicBezTo>
                    <a:pt x="307441" y="92741"/>
                    <a:pt x="299818" y="94011"/>
                    <a:pt x="293466" y="91471"/>
                  </a:cubicBezTo>
                  <a:cubicBezTo>
                    <a:pt x="274410" y="80037"/>
                    <a:pt x="254083" y="74955"/>
                    <a:pt x="232486" y="74955"/>
                  </a:cubicBezTo>
                  <a:cubicBezTo>
                    <a:pt x="165154" y="74955"/>
                    <a:pt x="111797" y="129583"/>
                    <a:pt x="111797" y="195644"/>
                  </a:cubicBezTo>
                  <a:cubicBezTo>
                    <a:pt x="111797" y="196915"/>
                    <a:pt x="111797" y="199456"/>
                    <a:pt x="111797" y="200726"/>
                  </a:cubicBezTo>
                  <a:lnTo>
                    <a:pt x="111797" y="205808"/>
                  </a:lnTo>
                  <a:cubicBezTo>
                    <a:pt x="113067" y="213431"/>
                    <a:pt x="106715" y="221053"/>
                    <a:pt x="99093" y="222323"/>
                  </a:cubicBezTo>
                  <a:cubicBezTo>
                    <a:pt x="59710" y="227405"/>
                    <a:pt x="30490" y="261707"/>
                    <a:pt x="30490" y="301090"/>
                  </a:cubicBezTo>
                  <a:cubicBezTo>
                    <a:pt x="30490" y="329038"/>
                    <a:pt x="45735" y="355717"/>
                    <a:pt x="71143" y="369693"/>
                  </a:cubicBezTo>
                  <a:lnTo>
                    <a:pt x="118149" y="369693"/>
                  </a:lnTo>
                  <a:cubicBezTo>
                    <a:pt x="118149" y="369693"/>
                    <a:pt x="118149" y="369693"/>
                    <a:pt x="118149" y="369693"/>
                  </a:cubicBezTo>
                  <a:cubicBezTo>
                    <a:pt x="127042" y="369693"/>
                    <a:pt x="133394" y="376045"/>
                    <a:pt x="133394" y="384937"/>
                  </a:cubicBezTo>
                  <a:cubicBezTo>
                    <a:pt x="133394" y="393829"/>
                    <a:pt x="127042" y="400181"/>
                    <a:pt x="118149" y="400181"/>
                  </a:cubicBezTo>
                  <a:lnTo>
                    <a:pt x="67332" y="400181"/>
                  </a:lnTo>
                  <a:cubicBezTo>
                    <a:pt x="67332" y="400181"/>
                    <a:pt x="67332" y="400181"/>
                    <a:pt x="67332" y="400181"/>
                  </a:cubicBezTo>
                  <a:cubicBezTo>
                    <a:pt x="64791" y="400181"/>
                    <a:pt x="62250" y="400181"/>
                    <a:pt x="59710" y="398911"/>
                  </a:cubicBezTo>
                  <a:cubicBezTo>
                    <a:pt x="22868" y="379855"/>
                    <a:pt x="0" y="341742"/>
                    <a:pt x="0" y="301090"/>
                  </a:cubicBezTo>
                  <a:cubicBezTo>
                    <a:pt x="0" y="251543"/>
                    <a:pt x="34301" y="208349"/>
                    <a:pt x="80036" y="195644"/>
                  </a:cubicBezTo>
                  <a:cubicBezTo>
                    <a:pt x="80036" y="111797"/>
                    <a:pt x="148639" y="44465"/>
                    <a:pt x="231216" y="44465"/>
                  </a:cubicBezTo>
                  <a:cubicBezTo>
                    <a:pt x="254083" y="44465"/>
                    <a:pt x="275680" y="49547"/>
                    <a:pt x="296007" y="59711"/>
                  </a:cubicBezTo>
                  <a:cubicBezTo>
                    <a:pt x="332849" y="21598"/>
                    <a:pt x="382395" y="0"/>
                    <a:pt x="434482" y="0"/>
                  </a:cubicBezTo>
                  <a:cubicBezTo>
                    <a:pt x="537386" y="0"/>
                    <a:pt x="621234" y="80037"/>
                    <a:pt x="627586" y="180400"/>
                  </a:cubicBezTo>
                  <a:cubicBezTo>
                    <a:pt x="691107" y="189292"/>
                    <a:pt x="738112" y="240109"/>
                    <a:pt x="738112" y="30236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ADCE287-E82B-F21B-580F-2DEF38C28255}"/>
              </a:ext>
            </a:extLst>
          </p:cNvPr>
          <p:cNvGrpSpPr/>
          <p:nvPr/>
        </p:nvGrpSpPr>
        <p:grpSpPr>
          <a:xfrm>
            <a:off x="1144634" y="2906460"/>
            <a:ext cx="3326654" cy="1094625"/>
            <a:chOff x="869828" y="2226232"/>
            <a:chExt cx="3326654" cy="1094625"/>
          </a:xfrm>
        </p:grpSpPr>
        <p:grpSp>
          <p:nvGrpSpPr>
            <p:cNvPr id="1688" name="Google Shape;1618;g2e37ced3bdd_1_0">
              <a:extLst>
                <a:ext uri="{FF2B5EF4-FFF2-40B4-BE49-F238E27FC236}">
                  <a16:creationId xmlns:a16="http://schemas.microsoft.com/office/drawing/2014/main" id="{AC22ABE2-14D1-11EE-C68F-495EB2FFB4E0}"/>
                </a:ext>
              </a:extLst>
            </p:cNvPr>
            <p:cNvGrpSpPr/>
            <p:nvPr/>
          </p:nvGrpSpPr>
          <p:grpSpPr>
            <a:xfrm flipH="1">
              <a:off x="869828" y="2227057"/>
              <a:ext cx="3326654" cy="1093800"/>
              <a:chOff x="7978019" y="2345513"/>
              <a:chExt cx="3326654" cy="1093800"/>
            </a:xfrm>
          </p:grpSpPr>
          <p:sp>
            <p:nvSpPr>
              <p:cNvPr id="1683" name="Google Shape;1619;g2e37ced3bdd_1_0">
                <a:extLst>
                  <a:ext uri="{FF2B5EF4-FFF2-40B4-BE49-F238E27FC236}">
                    <a16:creationId xmlns:a16="http://schemas.microsoft.com/office/drawing/2014/main" id="{50CD029C-F283-2B07-D11F-6ACEB32A26F9}"/>
                  </a:ext>
                </a:extLst>
              </p:cNvPr>
              <p:cNvSpPr/>
              <p:nvPr/>
            </p:nvSpPr>
            <p:spPr>
              <a:xfrm>
                <a:off x="8193073" y="2345513"/>
                <a:ext cx="3111600" cy="1093800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684" name="Google Shape;1620;g2e37ced3bdd_1_0">
                <a:extLst>
                  <a:ext uri="{FF2B5EF4-FFF2-40B4-BE49-F238E27FC236}">
                    <a16:creationId xmlns:a16="http://schemas.microsoft.com/office/drawing/2014/main" id="{5F5B70B8-6A17-5ADD-202A-FE5FC597E688}"/>
                  </a:ext>
                </a:extLst>
              </p:cNvPr>
              <p:cNvGrpSpPr/>
              <p:nvPr/>
            </p:nvGrpSpPr>
            <p:grpSpPr>
              <a:xfrm>
                <a:off x="8417278" y="2527157"/>
                <a:ext cx="736708" cy="737784"/>
                <a:chOff x="6345238" y="4948238"/>
                <a:chExt cx="1027200" cy="1028700"/>
              </a:xfrm>
            </p:grpSpPr>
            <p:sp>
              <p:nvSpPr>
                <p:cNvPr id="1686" name="Google Shape;1621;g2e37ced3bdd_1_0">
                  <a:extLst>
                    <a:ext uri="{FF2B5EF4-FFF2-40B4-BE49-F238E27FC236}">
                      <a16:creationId xmlns:a16="http://schemas.microsoft.com/office/drawing/2014/main" id="{59375F31-3B50-88B3-0851-1E3BC01C09B1}"/>
                    </a:ext>
                  </a:extLst>
                </p:cNvPr>
                <p:cNvSpPr/>
                <p:nvPr/>
              </p:nvSpPr>
              <p:spPr>
                <a:xfrm>
                  <a:off x="6345238" y="4948238"/>
                  <a:ext cx="1027200" cy="10287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687" name="Google Shape;1622;g2e37ced3bdd_1_0">
                  <a:extLst>
                    <a:ext uri="{FF2B5EF4-FFF2-40B4-BE49-F238E27FC236}">
                      <a16:creationId xmlns:a16="http://schemas.microsoft.com/office/drawing/2014/main" id="{9D2347CB-8B8B-D6F4-0D34-D45B73628339}"/>
                    </a:ext>
                  </a:extLst>
                </p:cNvPr>
                <p:cNvSpPr/>
                <p:nvPr/>
              </p:nvSpPr>
              <p:spPr>
                <a:xfrm>
                  <a:off x="6359525" y="4962526"/>
                  <a:ext cx="998400" cy="10002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685" name="Google Shape;1623;g2e37ced3bdd_1_0">
                <a:extLst>
                  <a:ext uri="{FF2B5EF4-FFF2-40B4-BE49-F238E27FC236}">
                    <a16:creationId xmlns:a16="http://schemas.microsoft.com/office/drawing/2014/main" id="{1637D73A-F08D-6A0A-BF6A-3E420300147C}"/>
                  </a:ext>
                </a:extLst>
              </p:cNvPr>
              <p:cNvSpPr/>
              <p:nvPr/>
            </p:nvSpPr>
            <p:spPr>
              <a:xfrm rot="-5114502">
                <a:off x="8054492" y="3044904"/>
                <a:ext cx="267622" cy="420567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694" name="Google Shape;1626;g2e37ced3bdd_1_0">
              <a:extLst>
                <a:ext uri="{FF2B5EF4-FFF2-40B4-BE49-F238E27FC236}">
                  <a16:creationId xmlns:a16="http://schemas.microsoft.com/office/drawing/2014/main" id="{FD90196A-9D09-B069-E416-17EFE159EC0D}"/>
                </a:ext>
              </a:extLst>
            </p:cNvPr>
            <p:cNvSpPr/>
            <p:nvPr/>
          </p:nvSpPr>
          <p:spPr>
            <a:xfrm flipH="1">
              <a:off x="1278662" y="2226232"/>
              <a:ext cx="1542030" cy="10831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800" b="1">
                  <a:solidFill>
                    <a:schemeClr val="dk1"/>
                  </a:solidFill>
                </a:rPr>
                <a:t>Time </a:t>
              </a:r>
              <a:r>
                <a:rPr lang="en-GB" b="1">
                  <a:solidFill>
                    <a:schemeClr val="dk1"/>
                  </a:solidFill>
                </a:rPr>
                <a:t>constraints</a:t>
              </a: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5" name="Google Shape;1664;g2e37ced3bdd_1_0">
              <a:extLst>
                <a:ext uri="{FF2B5EF4-FFF2-40B4-BE49-F238E27FC236}">
                  <a16:creationId xmlns:a16="http://schemas.microsoft.com/office/drawing/2014/main" id="{093CA139-2ABC-3B1C-17F1-618C30D5892F}"/>
                </a:ext>
              </a:extLst>
            </p:cNvPr>
            <p:cNvSpPr/>
            <p:nvPr/>
          </p:nvSpPr>
          <p:spPr>
            <a:xfrm>
              <a:off x="3213563" y="2613757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1" name="Google Shape;1667;g2e37ced3bdd_1_0">
              <a:extLst>
                <a:ext uri="{FF2B5EF4-FFF2-40B4-BE49-F238E27FC236}">
                  <a16:creationId xmlns:a16="http://schemas.microsoft.com/office/drawing/2014/main" id="{48904B2A-A67C-8FDF-FC4A-B65A21E9BEF4}"/>
                </a:ext>
              </a:extLst>
            </p:cNvPr>
            <p:cNvSpPr/>
            <p:nvPr/>
          </p:nvSpPr>
          <p:spPr>
            <a:xfrm>
              <a:off x="3247800" y="2647986"/>
              <a:ext cx="251926" cy="251926"/>
            </a:xfrm>
            <a:custGeom>
              <a:avLst/>
              <a:gdLst/>
              <a:ahLst/>
              <a:cxnLst/>
              <a:rect l="l" t="t" r="r" b="b"/>
              <a:pathLst>
                <a:path w="447869" h="447869" extrusionOk="0">
                  <a:moveTo>
                    <a:pt x="223935" y="0"/>
                  </a:moveTo>
                  <a:cubicBezTo>
                    <a:pt x="100273" y="0"/>
                    <a:pt x="0" y="100260"/>
                    <a:pt x="0" y="223935"/>
                  </a:cubicBezTo>
                  <a:cubicBezTo>
                    <a:pt x="0" y="347609"/>
                    <a:pt x="100273" y="447869"/>
                    <a:pt x="223935" y="447869"/>
                  </a:cubicBezTo>
                  <a:cubicBezTo>
                    <a:pt x="347596" y="447869"/>
                    <a:pt x="447869" y="347609"/>
                    <a:pt x="447869" y="223935"/>
                  </a:cubicBezTo>
                  <a:cubicBezTo>
                    <a:pt x="447869" y="100260"/>
                    <a:pt x="347596" y="0"/>
                    <a:pt x="223935" y="0"/>
                  </a:cubicBezTo>
                  <a:close/>
                  <a:moveTo>
                    <a:pt x="223935" y="419878"/>
                  </a:moveTo>
                  <a:cubicBezTo>
                    <a:pt x="115699" y="419878"/>
                    <a:pt x="27992" y="332151"/>
                    <a:pt x="27992" y="223935"/>
                  </a:cubicBezTo>
                  <a:cubicBezTo>
                    <a:pt x="27992" y="115718"/>
                    <a:pt x="115699" y="27992"/>
                    <a:pt x="223935" y="27992"/>
                  </a:cubicBezTo>
                  <a:cubicBezTo>
                    <a:pt x="332169" y="27992"/>
                    <a:pt x="419878" y="115718"/>
                    <a:pt x="419878" y="223935"/>
                  </a:cubicBezTo>
                  <a:cubicBezTo>
                    <a:pt x="419939" y="332207"/>
                    <a:pt x="332231" y="420020"/>
                    <a:pt x="223935" y="420126"/>
                  </a:cubicBezTo>
                  <a:close/>
                  <a:moveTo>
                    <a:pt x="237931" y="209939"/>
                  </a:moveTo>
                  <a:lnTo>
                    <a:pt x="237931" y="85095"/>
                  </a:lnTo>
                  <a:lnTo>
                    <a:pt x="209939" y="85095"/>
                  </a:lnTo>
                  <a:lnTo>
                    <a:pt x="209939" y="237931"/>
                  </a:lnTo>
                  <a:lnTo>
                    <a:pt x="362774" y="237931"/>
                  </a:lnTo>
                  <a:lnTo>
                    <a:pt x="362774" y="2099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DE0887-4F90-74E3-AE72-6676B487521A}"/>
              </a:ext>
            </a:extLst>
          </p:cNvPr>
          <p:cNvGrpSpPr/>
          <p:nvPr/>
        </p:nvGrpSpPr>
        <p:grpSpPr>
          <a:xfrm>
            <a:off x="1915961" y="1116547"/>
            <a:ext cx="3132131" cy="1338573"/>
            <a:chOff x="1761502" y="848817"/>
            <a:chExt cx="3132131" cy="1338573"/>
          </a:xfrm>
        </p:grpSpPr>
        <p:grpSp>
          <p:nvGrpSpPr>
            <p:cNvPr id="1677" name="Google Shape;1611;g2e37ced3bdd_1_0">
              <a:extLst>
                <a:ext uri="{FF2B5EF4-FFF2-40B4-BE49-F238E27FC236}">
                  <a16:creationId xmlns:a16="http://schemas.microsoft.com/office/drawing/2014/main" id="{0C502CF4-4111-BE2C-8B9A-F90D846BF525}"/>
                </a:ext>
              </a:extLst>
            </p:cNvPr>
            <p:cNvGrpSpPr/>
            <p:nvPr/>
          </p:nvGrpSpPr>
          <p:grpSpPr>
            <a:xfrm flipH="1">
              <a:off x="1761502" y="848817"/>
              <a:ext cx="3132131" cy="1338573"/>
              <a:chOff x="7410579" y="964710"/>
              <a:chExt cx="3132131" cy="1338573"/>
            </a:xfrm>
          </p:grpSpPr>
          <p:sp>
            <p:nvSpPr>
              <p:cNvPr id="1673" name="Google Shape;1612;g2e37ced3bdd_1_0">
                <a:extLst>
                  <a:ext uri="{FF2B5EF4-FFF2-40B4-BE49-F238E27FC236}">
                    <a16:creationId xmlns:a16="http://schemas.microsoft.com/office/drawing/2014/main" id="{19DF49B9-7860-C1C4-D9B8-BA2490B936D2}"/>
                  </a:ext>
                </a:extLst>
              </p:cNvPr>
              <p:cNvSpPr/>
              <p:nvPr/>
            </p:nvSpPr>
            <p:spPr>
              <a:xfrm>
                <a:off x="7502510" y="1031063"/>
                <a:ext cx="3040200" cy="1120800"/>
              </a:xfrm>
              <a:prstGeom prst="roundRect">
                <a:avLst>
                  <a:gd name="adj" fmla="val 16667"/>
                </a:avLst>
              </a:prstGeom>
              <a:solidFill>
                <a:srgbClr val="00A499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74" name="Google Shape;1613;g2e37ced3bdd_1_0">
                <a:extLst>
                  <a:ext uri="{FF2B5EF4-FFF2-40B4-BE49-F238E27FC236}">
                    <a16:creationId xmlns:a16="http://schemas.microsoft.com/office/drawing/2014/main" id="{CDCB55D9-5696-351E-475B-178D773849BB}"/>
                  </a:ext>
                </a:extLst>
              </p:cNvPr>
              <p:cNvSpPr/>
              <p:nvPr/>
            </p:nvSpPr>
            <p:spPr>
              <a:xfrm>
                <a:off x="7652614" y="1203620"/>
                <a:ext cx="736500" cy="7377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75" name="Google Shape;1614;g2e37ced3bdd_1_0">
                <a:extLst>
                  <a:ext uri="{FF2B5EF4-FFF2-40B4-BE49-F238E27FC236}">
                    <a16:creationId xmlns:a16="http://schemas.microsoft.com/office/drawing/2014/main" id="{76313963-137C-61F9-7F61-9771ED14D733}"/>
                  </a:ext>
                </a:extLst>
              </p:cNvPr>
              <p:cNvSpPr/>
              <p:nvPr/>
            </p:nvSpPr>
            <p:spPr>
              <a:xfrm>
                <a:off x="8624175" y="964710"/>
                <a:ext cx="1578900" cy="12675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r>
                  <a:rPr lang="en-GB" sz="1800" b="1">
                    <a:solidFill>
                      <a:schemeClr val="dk1"/>
                    </a:solidFill>
                  </a:rPr>
                  <a:t>Scope management</a:t>
                </a:r>
                <a:endParaRPr sz="1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76" name="Google Shape;1615;g2e37ced3bdd_1_0">
                <a:extLst>
                  <a:ext uri="{FF2B5EF4-FFF2-40B4-BE49-F238E27FC236}">
                    <a16:creationId xmlns:a16="http://schemas.microsoft.com/office/drawing/2014/main" id="{E94938A0-497C-545B-2B6F-664FE304D57A}"/>
                  </a:ext>
                </a:extLst>
              </p:cNvPr>
              <p:cNvSpPr/>
              <p:nvPr/>
            </p:nvSpPr>
            <p:spPr>
              <a:xfrm rot="-8833108">
                <a:off x="7410579" y="1882790"/>
                <a:ext cx="267621" cy="420493"/>
              </a:xfrm>
              <a:prstGeom prst="triangle">
                <a:avLst>
                  <a:gd name="adj" fmla="val 50000"/>
                </a:avLst>
              </a:prstGeom>
              <a:solidFill>
                <a:srgbClr val="00A4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747" name="Google Shape;1665;g2e37ced3bdd_1_0">
              <a:extLst>
                <a:ext uri="{FF2B5EF4-FFF2-40B4-BE49-F238E27FC236}">
                  <a16:creationId xmlns:a16="http://schemas.microsoft.com/office/drawing/2014/main" id="{A37F9691-5DBB-8153-2A33-2CC0BBFDA326}"/>
                </a:ext>
              </a:extLst>
            </p:cNvPr>
            <p:cNvSpPr/>
            <p:nvPr/>
          </p:nvSpPr>
          <p:spPr>
            <a:xfrm>
              <a:off x="4126275" y="1297620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668;g2e37ced3bdd_1_0">
              <a:extLst>
                <a:ext uri="{FF2B5EF4-FFF2-40B4-BE49-F238E27FC236}">
                  <a16:creationId xmlns:a16="http://schemas.microsoft.com/office/drawing/2014/main" id="{91A6A9E6-C0F7-4430-953C-5A6451D8E241}"/>
                </a:ext>
              </a:extLst>
            </p:cNvPr>
            <p:cNvSpPr/>
            <p:nvPr/>
          </p:nvSpPr>
          <p:spPr>
            <a:xfrm>
              <a:off x="4160481" y="1331834"/>
              <a:ext cx="251999" cy="252000"/>
            </a:xfrm>
            <a:custGeom>
              <a:avLst/>
              <a:gdLst/>
              <a:ahLst/>
              <a:cxnLst/>
              <a:rect l="l" t="t" r="r" b="b"/>
              <a:pathLst>
                <a:path w="771" h="757" extrusionOk="0">
                  <a:moveTo>
                    <a:pt x="532" y="407"/>
                  </a:moveTo>
                  <a:lnTo>
                    <a:pt x="532" y="407"/>
                  </a:lnTo>
                  <a:cubicBezTo>
                    <a:pt x="525" y="407"/>
                    <a:pt x="518" y="415"/>
                    <a:pt x="518" y="422"/>
                  </a:cubicBezTo>
                  <a:cubicBezTo>
                    <a:pt x="518" y="492"/>
                    <a:pt x="572" y="550"/>
                    <a:pt x="642" y="550"/>
                  </a:cubicBezTo>
                  <a:cubicBezTo>
                    <a:pt x="715" y="550"/>
                    <a:pt x="770" y="492"/>
                    <a:pt x="770" y="422"/>
                  </a:cubicBezTo>
                  <a:cubicBezTo>
                    <a:pt x="770" y="415"/>
                    <a:pt x="763" y="407"/>
                    <a:pt x="756" y="407"/>
                  </a:cubicBezTo>
                  <a:cubicBezTo>
                    <a:pt x="660" y="118"/>
                    <a:pt x="660" y="118"/>
                    <a:pt x="660" y="118"/>
                  </a:cubicBezTo>
                  <a:cubicBezTo>
                    <a:pt x="660" y="63"/>
                    <a:pt x="660" y="63"/>
                    <a:pt x="660" y="63"/>
                  </a:cubicBezTo>
                  <a:cubicBezTo>
                    <a:pt x="660" y="55"/>
                    <a:pt x="653" y="48"/>
                    <a:pt x="642" y="48"/>
                  </a:cubicBezTo>
                  <a:cubicBezTo>
                    <a:pt x="444" y="48"/>
                    <a:pt x="444" y="48"/>
                    <a:pt x="444" y="48"/>
                  </a:cubicBezTo>
                  <a:cubicBezTo>
                    <a:pt x="437" y="22"/>
                    <a:pt x="415" y="0"/>
                    <a:pt x="386" y="0"/>
                  </a:cubicBezTo>
                  <a:cubicBezTo>
                    <a:pt x="356" y="0"/>
                    <a:pt x="330" y="22"/>
                    <a:pt x="327" y="48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18" y="48"/>
                    <a:pt x="110" y="55"/>
                    <a:pt x="110" y="63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" y="407"/>
                    <a:pt x="11" y="407"/>
                    <a:pt x="11" y="407"/>
                  </a:cubicBezTo>
                  <a:cubicBezTo>
                    <a:pt x="4" y="407"/>
                    <a:pt x="0" y="415"/>
                    <a:pt x="0" y="422"/>
                  </a:cubicBezTo>
                  <a:cubicBezTo>
                    <a:pt x="0" y="492"/>
                    <a:pt x="55" y="550"/>
                    <a:pt x="125" y="550"/>
                  </a:cubicBezTo>
                  <a:cubicBezTo>
                    <a:pt x="195" y="550"/>
                    <a:pt x="253" y="492"/>
                    <a:pt x="253" y="422"/>
                  </a:cubicBezTo>
                  <a:cubicBezTo>
                    <a:pt x="253" y="415"/>
                    <a:pt x="246" y="407"/>
                    <a:pt x="239" y="407"/>
                  </a:cubicBezTo>
                  <a:cubicBezTo>
                    <a:pt x="143" y="118"/>
                    <a:pt x="143" y="118"/>
                    <a:pt x="143" y="118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327" y="77"/>
                    <a:pt x="327" y="77"/>
                    <a:pt x="327" y="77"/>
                  </a:cubicBezTo>
                  <a:cubicBezTo>
                    <a:pt x="330" y="99"/>
                    <a:pt x="349" y="118"/>
                    <a:pt x="371" y="121"/>
                  </a:cubicBezTo>
                  <a:cubicBezTo>
                    <a:pt x="371" y="565"/>
                    <a:pt x="371" y="565"/>
                    <a:pt x="371" y="565"/>
                  </a:cubicBezTo>
                  <a:cubicBezTo>
                    <a:pt x="275" y="565"/>
                    <a:pt x="275" y="565"/>
                    <a:pt x="275" y="565"/>
                  </a:cubicBezTo>
                  <a:cubicBezTo>
                    <a:pt x="264" y="565"/>
                    <a:pt x="257" y="572"/>
                    <a:pt x="257" y="580"/>
                  </a:cubicBezTo>
                  <a:cubicBezTo>
                    <a:pt x="257" y="664"/>
                    <a:pt x="257" y="664"/>
                    <a:pt x="257" y="664"/>
                  </a:cubicBezTo>
                  <a:cubicBezTo>
                    <a:pt x="125" y="726"/>
                    <a:pt x="125" y="726"/>
                    <a:pt x="125" y="726"/>
                  </a:cubicBezTo>
                  <a:cubicBezTo>
                    <a:pt x="121" y="730"/>
                    <a:pt x="118" y="737"/>
                    <a:pt x="118" y="745"/>
                  </a:cubicBezTo>
                  <a:cubicBezTo>
                    <a:pt x="121" y="752"/>
                    <a:pt x="125" y="756"/>
                    <a:pt x="132" y="756"/>
                  </a:cubicBezTo>
                  <a:cubicBezTo>
                    <a:pt x="638" y="756"/>
                    <a:pt x="638" y="756"/>
                    <a:pt x="638" y="756"/>
                  </a:cubicBezTo>
                  <a:cubicBezTo>
                    <a:pt x="646" y="756"/>
                    <a:pt x="653" y="752"/>
                    <a:pt x="653" y="745"/>
                  </a:cubicBezTo>
                  <a:cubicBezTo>
                    <a:pt x="657" y="737"/>
                    <a:pt x="653" y="730"/>
                    <a:pt x="646" y="726"/>
                  </a:cubicBezTo>
                  <a:cubicBezTo>
                    <a:pt x="514" y="664"/>
                    <a:pt x="514" y="664"/>
                    <a:pt x="514" y="664"/>
                  </a:cubicBezTo>
                  <a:cubicBezTo>
                    <a:pt x="514" y="580"/>
                    <a:pt x="514" y="580"/>
                    <a:pt x="514" y="580"/>
                  </a:cubicBezTo>
                  <a:cubicBezTo>
                    <a:pt x="514" y="572"/>
                    <a:pt x="506" y="565"/>
                    <a:pt x="495" y="565"/>
                  </a:cubicBezTo>
                  <a:cubicBezTo>
                    <a:pt x="400" y="565"/>
                    <a:pt x="400" y="565"/>
                    <a:pt x="400" y="565"/>
                  </a:cubicBezTo>
                  <a:cubicBezTo>
                    <a:pt x="400" y="121"/>
                    <a:pt x="400" y="121"/>
                    <a:pt x="400" y="121"/>
                  </a:cubicBezTo>
                  <a:cubicBezTo>
                    <a:pt x="422" y="118"/>
                    <a:pt x="440" y="99"/>
                    <a:pt x="444" y="77"/>
                  </a:cubicBezTo>
                  <a:cubicBezTo>
                    <a:pt x="627" y="77"/>
                    <a:pt x="627" y="77"/>
                    <a:pt x="627" y="77"/>
                  </a:cubicBezTo>
                  <a:cubicBezTo>
                    <a:pt x="627" y="118"/>
                    <a:pt x="627" y="118"/>
                    <a:pt x="627" y="118"/>
                  </a:cubicBezTo>
                  <a:lnTo>
                    <a:pt x="532" y="407"/>
                  </a:lnTo>
                  <a:close/>
                  <a:moveTo>
                    <a:pt x="125" y="169"/>
                  </a:moveTo>
                  <a:lnTo>
                    <a:pt x="125" y="169"/>
                  </a:lnTo>
                  <a:cubicBezTo>
                    <a:pt x="206" y="407"/>
                    <a:pt x="206" y="407"/>
                    <a:pt x="206" y="407"/>
                  </a:cubicBezTo>
                  <a:cubicBezTo>
                    <a:pt x="44" y="407"/>
                    <a:pt x="44" y="407"/>
                    <a:pt x="44" y="407"/>
                  </a:cubicBezTo>
                  <a:lnTo>
                    <a:pt x="125" y="169"/>
                  </a:lnTo>
                  <a:close/>
                  <a:moveTo>
                    <a:pt x="125" y="517"/>
                  </a:moveTo>
                  <a:lnTo>
                    <a:pt x="125" y="517"/>
                  </a:lnTo>
                  <a:cubicBezTo>
                    <a:pt x="77" y="517"/>
                    <a:pt x="41" y="484"/>
                    <a:pt x="33" y="437"/>
                  </a:cubicBezTo>
                  <a:cubicBezTo>
                    <a:pt x="220" y="437"/>
                    <a:pt x="220" y="437"/>
                    <a:pt x="220" y="437"/>
                  </a:cubicBezTo>
                  <a:cubicBezTo>
                    <a:pt x="213" y="484"/>
                    <a:pt x="173" y="517"/>
                    <a:pt x="125" y="517"/>
                  </a:cubicBezTo>
                  <a:close/>
                  <a:moveTo>
                    <a:pt x="206" y="726"/>
                  </a:moveTo>
                  <a:lnTo>
                    <a:pt x="206" y="726"/>
                  </a:lnTo>
                  <a:cubicBezTo>
                    <a:pt x="283" y="690"/>
                    <a:pt x="283" y="690"/>
                    <a:pt x="283" y="690"/>
                  </a:cubicBezTo>
                  <a:cubicBezTo>
                    <a:pt x="492" y="690"/>
                    <a:pt x="492" y="690"/>
                    <a:pt x="492" y="690"/>
                  </a:cubicBezTo>
                  <a:cubicBezTo>
                    <a:pt x="569" y="726"/>
                    <a:pt x="569" y="726"/>
                    <a:pt x="569" y="726"/>
                  </a:cubicBezTo>
                  <a:lnTo>
                    <a:pt x="206" y="726"/>
                  </a:lnTo>
                  <a:close/>
                  <a:moveTo>
                    <a:pt x="481" y="657"/>
                  </a:moveTo>
                  <a:lnTo>
                    <a:pt x="481" y="657"/>
                  </a:lnTo>
                  <a:cubicBezTo>
                    <a:pt x="290" y="657"/>
                    <a:pt x="290" y="657"/>
                    <a:pt x="290" y="657"/>
                  </a:cubicBezTo>
                  <a:cubicBezTo>
                    <a:pt x="290" y="598"/>
                    <a:pt x="290" y="598"/>
                    <a:pt x="290" y="598"/>
                  </a:cubicBezTo>
                  <a:cubicBezTo>
                    <a:pt x="481" y="598"/>
                    <a:pt x="481" y="598"/>
                    <a:pt x="481" y="598"/>
                  </a:cubicBezTo>
                  <a:lnTo>
                    <a:pt x="481" y="657"/>
                  </a:lnTo>
                  <a:close/>
                  <a:moveTo>
                    <a:pt x="386" y="92"/>
                  </a:moveTo>
                  <a:lnTo>
                    <a:pt x="386" y="92"/>
                  </a:lnTo>
                  <a:cubicBezTo>
                    <a:pt x="367" y="92"/>
                    <a:pt x="356" y="81"/>
                    <a:pt x="356" y="63"/>
                  </a:cubicBezTo>
                  <a:cubicBezTo>
                    <a:pt x="356" y="48"/>
                    <a:pt x="367" y="33"/>
                    <a:pt x="386" y="33"/>
                  </a:cubicBezTo>
                  <a:cubicBezTo>
                    <a:pt x="400" y="33"/>
                    <a:pt x="415" y="48"/>
                    <a:pt x="415" y="63"/>
                  </a:cubicBezTo>
                  <a:cubicBezTo>
                    <a:pt x="415" y="81"/>
                    <a:pt x="400" y="92"/>
                    <a:pt x="386" y="92"/>
                  </a:cubicBezTo>
                  <a:close/>
                  <a:moveTo>
                    <a:pt x="642" y="517"/>
                  </a:moveTo>
                  <a:lnTo>
                    <a:pt x="642" y="517"/>
                  </a:lnTo>
                  <a:cubicBezTo>
                    <a:pt x="598" y="517"/>
                    <a:pt x="558" y="484"/>
                    <a:pt x="550" y="437"/>
                  </a:cubicBezTo>
                  <a:cubicBezTo>
                    <a:pt x="738" y="437"/>
                    <a:pt x="738" y="437"/>
                    <a:pt x="738" y="437"/>
                  </a:cubicBezTo>
                  <a:cubicBezTo>
                    <a:pt x="730" y="484"/>
                    <a:pt x="690" y="517"/>
                    <a:pt x="642" y="517"/>
                  </a:cubicBezTo>
                  <a:close/>
                  <a:moveTo>
                    <a:pt x="723" y="407"/>
                  </a:moveTo>
                  <a:lnTo>
                    <a:pt x="723" y="407"/>
                  </a:lnTo>
                  <a:cubicBezTo>
                    <a:pt x="565" y="407"/>
                    <a:pt x="565" y="407"/>
                    <a:pt x="565" y="407"/>
                  </a:cubicBezTo>
                  <a:cubicBezTo>
                    <a:pt x="642" y="169"/>
                    <a:pt x="642" y="169"/>
                    <a:pt x="642" y="169"/>
                  </a:cubicBezTo>
                  <a:lnTo>
                    <a:pt x="723" y="40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90"/>
                <a:buFont typeface="Arial"/>
                <a:buNone/>
              </a:pPr>
              <a:endParaRPr sz="189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6FAF3D4-99B7-C4AE-BDFB-7DA53F2BB8C3}"/>
              </a:ext>
            </a:extLst>
          </p:cNvPr>
          <p:cNvGrpSpPr/>
          <p:nvPr/>
        </p:nvGrpSpPr>
        <p:grpSpPr>
          <a:xfrm>
            <a:off x="1913773" y="4918941"/>
            <a:ext cx="3193191" cy="1207711"/>
            <a:chOff x="1687904" y="5254051"/>
            <a:chExt cx="3193191" cy="1207711"/>
          </a:xfrm>
        </p:grpSpPr>
        <p:grpSp>
          <p:nvGrpSpPr>
            <p:cNvPr id="1550" name="Google Shape;1604;g2e37ced3bdd_1_0">
              <a:extLst>
                <a:ext uri="{FF2B5EF4-FFF2-40B4-BE49-F238E27FC236}">
                  <a16:creationId xmlns:a16="http://schemas.microsoft.com/office/drawing/2014/main" id="{23CD636F-FE73-65DD-CF37-9DCEF23F4257}"/>
                </a:ext>
              </a:extLst>
            </p:cNvPr>
            <p:cNvGrpSpPr/>
            <p:nvPr/>
          </p:nvGrpSpPr>
          <p:grpSpPr>
            <a:xfrm flipH="1">
              <a:off x="1693546" y="5254051"/>
              <a:ext cx="3187549" cy="1207711"/>
              <a:chOff x="7307605" y="5173377"/>
              <a:chExt cx="3235105" cy="1207711"/>
            </a:xfrm>
          </p:grpSpPr>
          <p:sp>
            <p:nvSpPr>
              <p:cNvPr id="1552" name="Google Shape;1605;g2e37ced3bdd_1_0">
                <a:extLst>
                  <a:ext uri="{FF2B5EF4-FFF2-40B4-BE49-F238E27FC236}">
                    <a16:creationId xmlns:a16="http://schemas.microsoft.com/office/drawing/2014/main" id="{26E2AD26-D521-4766-5087-A4D97D43A41B}"/>
                  </a:ext>
                </a:extLst>
              </p:cNvPr>
              <p:cNvSpPr/>
              <p:nvPr/>
            </p:nvSpPr>
            <p:spPr>
              <a:xfrm>
                <a:off x="7502510" y="5256988"/>
                <a:ext cx="3040200" cy="1124100"/>
              </a:xfrm>
              <a:prstGeom prst="roundRect">
                <a:avLst>
                  <a:gd name="adj" fmla="val 16667"/>
                </a:avLst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553" name="Google Shape;1606;g2e37ced3bdd_1_0">
                <a:extLst>
                  <a:ext uri="{FF2B5EF4-FFF2-40B4-BE49-F238E27FC236}">
                    <a16:creationId xmlns:a16="http://schemas.microsoft.com/office/drawing/2014/main" id="{B27249A9-CAB1-6051-6DE2-05AA6C828E64}"/>
                  </a:ext>
                </a:extLst>
              </p:cNvPr>
              <p:cNvGrpSpPr/>
              <p:nvPr/>
            </p:nvGrpSpPr>
            <p:grpSpPr>
              <a:xfrm>
                <a:off x="7650514" y="5460407"/>
                <a:ext cx="736708" cy="737784"/>
                <a:chOff x="6345238" y="4948238"/>
                <a:chExt cx="1027200" cy="1028700"/>
              </a:xfrm>
            </p:grpSpPr>
            <p:sp>
              <p:nvSpPr>
                <p:cNvPr id="1669" name="Google Shape;1607;g2e37ced3bdd_1_0">
                  <a:extLst>
                    <a:ext uri="{FF2B5EF4-FFF2-40B4-BE49-F238E27FC236}">
                      <a16:creationId xmlns:a16="http://schemas.microsoft.com/office/drawing/2014/main" id="{4A6338B2-ECEF-FA96-31BB-4693B8050560}"/>
                    </a:ext>
                  </a:extLst>
                </p:cNvPr>
                <p:cNvSpPr/>
                <p:nvPr/>
              </p:nvSpPr>
              <p:spPr>
                <a:xfrm>
                  <a:off x="6345238" y="4948238"/>
                  <a:ext cx="1027200" cy="10287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670" name="Google Shape;1608;g2e37ced3bdd_1_0">
                  <a:extLst>
                    <a:ext uri="{FF2B5EF4-FFF2-40B4-BE49-F238E27FC236}">
                      <a16:creationId xmlns:a16="http://schemas.microsoft.com/office/drawing/2014/main" id="{4E14FECE-BF01-F5A4-2DCB-B6037A9AEB2E}"/>
                    </a:ext>
                  </a:extLst>
                </p:cNvPr>
                <p:cNvSpPr/>
                <p:nvPr/>
              </p:nvSpPr>
              <p:spPr>
                <a:xfrm>
                  <a:off x="6359525" y="4962526"/>
                  <a:ext cx="998400" cy="10002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554" name="Google Shape;1609;g2e37ced3bdd_1_0">
                <a:extLst>
                  <a:ext uri="{FF2B5EF4-FFF2-40B4-BE49-F238E27FC236}">
                    <a16:creationId xmlns:a16="http://schemas.microsoft.com/office/drawing/2014/main" id="{AE6BCCC2-8BE3-0283-66C6-18DD14B638BA}"/>
                  </a:ext>
                </a:extLst>
              </p:cNvPr>
              <p:cNvSpPr/>
              <p:nvPr/>
            </p:nvSpPr>
            <p:spPr>
              <a:xfrm rot="-3090646">
                <a:off x="7384044" y="5096938"/>
                <a:ext cx="267527" cy="420406"/>
              </a:xfrm>
              <a:prstGeom prst="triangle">
                <a:avLst>
                  <a:gd name="adj" fmla="val 50000"/>
                </a:avLst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723" name="Google Shape;1648;g2e37ced3bdd_1_0">
              <a:extLst>
                <a:ext uri="{FF2B5EF4-FFF2-40B4-BE49-F238E27FC236}">
                  <a16:creationId xmlns:a16="http://schemas.microsoft.com/office/drawing/2014/main" id="{9DA6FAB4-14BA-3382-4A1C-21D535251E2D}"/>
                </a:ext>
              </a:extLst>
            </p:cNvPr>
            <p:cNvSpPr/>
            <p:nvPr/>
          </p:nvSpPr>
          <p:spPr>
            <a:xfrm>
              <a:off x="4021775" y="5751032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666;g2e37ced3bdd_1_0">
              <a:extLst>
                <a:ext uri="{FF2B5EF4-FFF2-40B4-BE49-F238E27FC236}">
                  <a16:creationId xmlns:a16="http://schemas.microsoft.com/office/drawing/2014/main" id="{4D734281-D33D-8989-5FCE-E71EEFDE4889}"/>
                </a:ext>
              </a:extLst>
            </p:cNvPr>
            <p:cNvSpPr/>
            <p:nvPr/>
          </p:nvSpPr>
          <p:spPr>
            <a:xfrm>
              <a:off x="4038517" y="5789034"/>
              <a:ext cx="253386" cy="253386"/>
            </a:xfrm>
            <a:custGeom>
              <a:avLst/>
              <a:gdLst/>
              <a:ahLst/>
              <a:cxnLst/>
              <a:rect l="l" t="t" r="r" b="b"/>
              <a:pathLst>
                <a:path w="1206600" h="1206600" extrusionOk="0">
                  <a:moveTo>
                    <a:pt x="387064" y="868435"/>
                  </a:moveTo>
                  <a:lnTo>
                    <a:pt x="554719" y="788419"/>
                  </a:lnTo>
                  <a:cubicBezTo>
                    <a:pt x="557259" y="787147"/>
                    <a:pt x="561070" y="784608"/>
                    <a:pt x="563609" y="782068"/>
                  </a:cubicBezTo>
                  <a:lnTo>
                    <a:pt x="1203743" y="141935"/>
                  </a:lnTo>
                  <a:cubicBezTo>
                    <a:pt x="1215174" y="130503"/>
                    <a:pt x="1215174" y="110182"/>
                    <a:pt x="1203743" y="98751"/>
                  </a:cubicBezTo>
                  <a:lnTo>
                    <a:pt x="1113566" y="8573"/>
                  </a:lnTo>
                  <a:cubicBezTo>
                    <a:pt x="1102134" y="-2858"/>
                    <a:pt x="1081813" y="-2858"/>
                    <a:pt x="1070382" y="8573"/>
                  </a:cubicBezTo>
                  <a:lnTo>
                    <a:pt x="430248" y="648707"/>
                  </a:lnTo>
                  <a:cubicBezTo>
                    <a:pt x="427708" y="651247"/>
                    <a:pt x="425167" y="653786"/>
                    <a:pt x="423897" y="657597"/>
                  </a:cubicBezTo>
                  <a:lnTo>
                    <a:pt x="347691" y="829062"/>
                  </a:lnTo>
                  <a:cubicBezTo>
                    <a:pt x="342610" y="840493"/>
                    <a:pt x="345152" y="854464"/>
                    <a:pt x="354042" y="863354"/>
                  </a:cubicBezTo>
                  <a:cubicBezTo>
                    <a:pt x="360392" y="868435"/>
                    <a:pt x="368012" y="872245"/>
                    <a:pt x="375633" y="872245"/>
                  </a:cubicBezTo>
                  <a:cubicBezTo>
                    <a:pt x="378174" y="870976"/>
                    <a:pt x="381983" y="869704"/>
                    <a:pt x="387064" y="868435"/>
                  </a:cubicBezTo>
                  <a:close/>
                  <a:moveTo>
                    <a:pt x="1090703" y="72079"/>
                  </a:moveTo>
                  <a:lnTo>
                    <a:pt x="1138968" y="120342"/>
                  </a:lnTo>
                  <a:lnTo>
                    <a:pt x="522966" y="736343"/>
                  </a:lnTo>
                  <a:lnTo>
                    <a:pt x="435329" y="778257"/>
                  </a:lnTo>
                  <a:lnTo>
                    <a:pt x="475971" y="688080"/>
                  </a:lnTo>
                  <a:lnTo>
                    <a:pt x="1090703" y="72079"/>
                  </a:lnTo>
                  <a:close/>
                  <a:moveTo>
                    <a:pt x="124153" y="1216444"/>
                  </a:moveTo>
                  <a:cubicBezTo>
                    <a:pt x="133043" y="1215174"/>
                    <a:pt x="141935" y="1210093"/>
                    <a:pt x="147014" y="1202473"/>
                  </a:cubicBezTo>
                  <a:lnTo>
                    <a:pt x="291806" y="966234"/>
                  </a:lnTo>
                  <a:cubicBezTo>
                    <a:pt x="300698" y="952261"/>
                    <a:pt x="295617" y="933210"/>
                    <a:pt x="281646" y="924319"/>
                  </a:cubicBezTo>
                  <a:cubicBezTo>
                    <a:pt x="267674" y="915429"/>
                    <a:pt x="248622" y="920509"/>
                    <a:pt x="239732" y="934481"/>
                  </a:cubicBezTo>
                  <a:lnTo>
                    <a:pt x="115261" y="1137698"/>
                  </a:lnTo>
                  <a:lnTo>
                    <a:pt x="51756" y="1074193"/>
                  </a:lnTo>
                  <a:cubicBezTo>
                    <a:pt x="40326" y="1062761"/>
                    <a:pt x="20003" y="1062761"/>
                    <a:pt x="8573" y="1074193"/>
                  </a:cubicBezTo>
                  <a:cubicBezTo>
                    <a:pt x="-2858" y="1085622"/>
                    <a:pt x="-2858" y="1105945"/>
                    <a:pt x="8573" y="1117375"/>
                  </a:cubicBezTo>
                  <a:lnTo>
                    <a:pt x="100020" y="1208824"/>
                  </a:lnTo>
                  <a:cubicBezTo>
                    <a:pt x="105101" y="1215174"/>
                    <a:pt x="113991" y="1217714"/>
                    <a:pt x="121612" y="1217714"/>
                  </a:cubicBezTo>
                  <a:cubicBezTo>
                    <a:pt x="121612" y="1216444"/>
                    <a:pt x="122883" y="1216444"/>
                    <a:pt x="124153" y="12164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1583;g2e37ced3bdd_1_0">
              <a:extLst>
                <a:ext uri="{FF2B5EF4-FFF2-40B4-BE49-F238E27FC236}">
                  <a16:creationId xmlns:a16="http://schemas.microsoft.com/office/drawing/2014/main" id="{B91942C7-750B-1B42-1FB8-89EAEFD86D2D}"/>
                </a:ext>
              </a:extLst>
            </p:cNvPr>
            <p:cNvSpPr/>
            <p:nvPr/>
          </p:nvSpPr>
          <p:spPr>
            <a:xfrm flipH="1">
              <a:off x="1687904" y="5399714"/>
              <a:ext cx="2209196" cy="10347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00"/>
              </a:pPr>
              <a:r>
                <a:rPr lang="en-GB" b="1">
                  <a:solidFill>
                    <a:schemeClr val="dk1"/>
                  </a:solidFill>
                </a:rPr>
                <a:t>Lack of visibility / knowledge of </a:t>
              </a:r>
              <a:endParaRPr lang="en-US" sz="1000">
                <a:solidFill>
                  <a:schemeClr val="dk1"/>
                </a:solidFill>
              </a:endParaRPr>
            </a:p>
            <a:p>
              <a:pPr algn="ctr">
                <a:buSzPts val="1000"/>
              </a:pPr>
              <a:r>
                <a:rPr lang="en-GB" b="1">
                  <a:solidFill>
                    <a:schemeClr val="dk1"/>
                  </a:solidFill>
                </a:rPr>
                <a:t>who we were</a:t>
              </a: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79A72C2-E165-FC3D-833B-6B5C9E768E8F}"/>
              </a:ext>
            </a:extLst>
          </p:cNvPr>
          <p:cNvGrpSpPr/>
          <p:nvPr/>
        </p:nvGrpSpPr>
        <p:grpSpPr>
          <a:xfrm>
            <a:off x="7434096" y="4906164"/>
            <a:ext cx="3235105" cy="1266773"/>
            <a:chOff x="7144205" y="5254034"/>
            <a:chExt cx="3235105" cy="1266773"/>
          </a:xfrm>
        </p:grpSpPr>
        <p:grpSp>
          <p:nvGrpSpPr>
            <p:cNvPr id="53" name="Google Shape;1585;g2e37ced3bdd_1_0">
              <a:extLst>
                <a:ext uri="{FF2B5EF4-FFF2-40B4-BE49-F238E27FC236}">
                  <a16:creationId xmlns:a16="http://schemas.microsoft.com/office/drawing/2014/main" id="{412D9426-1328-388F-9957-156C9610F524}"/>
                </a:ext>
              </a:extLst>
            </p:cNvPr>
            <p:cNvGrpSpPr/>
            <p:nvPr/>
          </p:nvGrpSpPr>
          <p:grpSpPr>
            <a:xfrm>
              <a:off x="7144205" y="5254034"/>
              <a:ext cx="3235105" cy="1207711"/>
              <a:chOff x="7307605" y="5173377"/>
              <a:chExt cx="3235105" cy="1207711"/>
            </a:xfrm>
          </p:grpSpPr>
          <p:sp>
            <p:nvSpPr>
              <p:cNvPr id="55" name="Google Shape;1586;g2e37ced3bdd_1_0">
                <a:extLst>
                  <a:ext uri="{FF2B5EF4-FFF2-40B4-BE49-F238E27FC236}">
                    <a16:creationId xmlns:a16="http://schemas.microsoft.com/office/drawing/2014/main" id="{1CE83162-8478-6908-E4E8-8925DFF2F850}"/>
                  </a:ext>
                </a:extLst>
              </p:cNvPr>
              <p:cNvSpPr/>
              <p:nvPr/>
            </p:nvSpPr>
            <p:spPr>
              <a:xfrm>
                <a:off x="7502510" y="5256988"/>
                <a:ext cx="3040200" cy="1124100"/>
              </a:xfrm>
              <a:prstGeom prst="roundRect">
                <a:avLst>
                  <a:gd name="adj" fmla="val 16667"/>
                </a:avLst>
              </a:prstGeom>
              <a:solidFill>
                <a:srgbClr val="00A499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56" name="Google Shape;1587;g2e37ced3bdd_1_0">
                <a:extLst>
                  <a:ext uri="{FF2B5EF4-FFF2-40B4-BE49-F238E27FC236}">
                    <a16:creationId xmlns:a16="http://schemas.microsoft.com/office/drawing/2014/main" id="{EE0BFBED-25BA-D2C2-41FF-0751EB5884DC}"/>
                  </a:ext>
                </a:extLst>
              </p:cNvPr>
              <p:cNvGrpSpPr/>
              <p:nvPr/>
            </p:nvGrpSpPr>
            <p:grpSpPr>
              <a:xfrm>
                <a:off x="7650514" y="5460407"/>
                <a:ext cx="736708" cy="737784"/>
                <a:chOff x="6345238" y="4948238"/>
                <a:chExt cx="1027200" cy="1028700"/>
              </a:xfrm>
            </p:grpSpPr>
            <p:sp>
              <p:nvSpPr>
                <p:cNvPr id="58" name="Google Shape;1588;g2e37ced3bdd_1_0">
                  <a:extLst>
                    <a:ext uri="{FF2B5EF4-FFF2-40B4-BE49-F238E27FC236}">
                      <a16:creationId xmlns:a16="http://schemas.microsoft.com/office/drawing/2014/main" id="{F752D0BD-3022-4295-0F1F-191446F43D89}"/>
                    </a:ext>
                  </a:extLst>
                </p:cNvPr>
                <p:cNvSpPr/>
                <p:nvPr/>
              </p:nvSpPr>
              <p:spPr>
                <a:xfrm>
                  <a:off x="6345238" y="4948238"/>
                  <a:ext cx="1027200" cy="10287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59" name="Google Shape;1589;g2e37ced3bdd_1_0">
                  <a:extLst>
                    <a:ext uri="{FF2B5EF4-FFF2-40B4-BE49-F238E27FC236}">
                      <a16:creationId xmlns:a16="http://schemas.microsoft.com/office/drawing/2014/main" id="{81E9B01A-AE13-B0D2-0280-0B5216B29B2D}"/>
                    </a:ext>
                  </a:extLst>
                </p:cNvPr>
                <p:cNvSpPr/>
                <p:nvPr/>
              </p:nvSpPr>
              <p:spPr>
                <a:xfrm>
                  <a:off x="6359525" y="4962526"/>
                  <a:ext cx="998400" cy="10002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000"/>
                    <a:buFont typeface="Arial"/>
                    <a:buNone/>
                  </a:pPr>
                  <a:endParaRPr sz="1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57" name="Google Shape;1590;g2e37ced3bdd_1_0">
                <a:extLst>
                  <a:ext uri="{FF2B5EF4-FFF2-40B4-BE49-F238E27FC236}">
                    <a16:creationId xmlns:a16="http://schemas.microsoft.com/office/drawing/2014/main" id="{3BBF8D41-B876-4211-9A26-723D93912BFA}"/>
                  </a:ext>
                </a:extLst>
              </p:cNvPr>
              <p:cNvSpPr/>
              <p:nvPr/>
            </p:nvSpPr>
            <p:spPr>
              <a:xfrm rot="-3090646">
                <a:off x="7384044" y="5096938"/>
                <a:ext cx="267527" cy="420406"/>
              </a:xfrm>
              <a:prstGeom prst="triangle">
                <a:avLst>
                  <a:gd name="adj" fmla="val 50000"/>
                </a:avLst>
              </a:prstGeom>
              <a:solidFill>
                <a:srgbClr val="00A4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50"/>
                  <a:buFont typeface="Arial"/>
                  <a:buNone/>
                </a:pPr>
                <a:endParaRPr sz="135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739" name="Google Shape;1661;g2e37ced3bdd_1_0">
              <a:extLst>
                <a:ext uri="{FF2B5EF4-FFF2-40B4-BE49-F238E27FC236}">
                  <a16:creationId xmlns:a16="http://schemas.microsoft.com/office/drawing/2014/main" id="{062F50FA-BD5D-5D04-46E9-E15E5160B09A}"/>
                </a:ext>
              </a:extLst>
            </p:cNvPr>
            <p:cNvSpPr/>
            <p:nvPr/>
          </p:nvSpPr>
          <p:spPr>
            <a:xfrm>
              <a:off x="7688113" y="5751032"/>
              <a:ext cx="320400" cy="320400"/>
            </a:xfrm>
            <a:prstGeom prst="rect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" name="Google Shape;1600;g2e37ced3bdd_1_0">
              <a:extLst>
                <a:ext uri="{FF2B5EF4-FFF2-40B4-BE49-F238E27FC236}">
                  <a16:creationId xmlns:a16="http://schemas.microsoft.com/office/drawing/2014/main" id="{5C81CBC9-C5E2-A2F5-9F38-0C2BC8914BE0}"/>
                </a:ext>
              </a:extLst>
            </p:cNvPr>
            <p:cNvSpPr/>
            <p:nvPr/>
          </p:nvSpPr>
          <p:spPr>
            <a:xfrm>
              <a:off x="8180496" y="5331437"/>
              <a:ext cx="2182515" cy="11893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00"/>
              </a:pPr>
              <a:r>
                <a:rPr lang="en-GB" b="1">
                  <a:solidFill>
                    <a:schemeClr val="dk1"/>
                  </a:solidFill>
                  <a:latin typeface="Arial"/>
                  <a:ea typeface="Arial"/>
                  <a:cs typeface="Arial"/>
                </a:rPr>
                <a:t>Working with </a:t>
              </a:r>
              <a:endParaRPr lang="en-US">
                <a:solidFill>
                  <a:schemeClr val="dk1"/>
                </a:solidFill>
              </a:endParaRPr>
            </a:p>
            <a:p>
              <a:pPr algn="ctr">
                <a:buSzPts val="1000"/>
              </a:pPr>
              <a:r>
                <a:rPr lang="en-GB" b="1">
                  <a:solidFill>
                    <a:schemeClr val="dk1"/>
                  </a:solidFill>
                  <a:latin typeface="Arial"/>
                  <a:ea typeface="Arial"/>
                  <a:cs typeface="Arial"/>
                </a:rPr>
                <a:t>Consultancies</a:t>
              </a:r>
              <a:endParaRPr lang="en-GB">
                <a:solidFill>
                  <a:schemeClr val="dk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2246DD1-6C06-B54F-3B9E-1A7DA084D2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2178" y="5796252"/>
              <a:ext cx="251466" cy="242321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0B622E-14DC-6D8E-7C7E-EE60DA889714}"/>
              </a:ext>
            </a:extLst>
          </p:cNvPr>
          <p:cNvGrpSpPr/>
          <p:nvPr/>
        </p:nvGrpSpPr>
        <p:grpSpPr>
          <a:xfrm>
            <a:off x="7634279" y="3616265"/>
            <a:ext cx="347663" cy="347663"/>
            <a:chOff x="4215352" y="2960820"/>
            <a:chExt cx="347663" cy="347663"/>
          </a:xfrm>
        </p:grpSpPr>
        <p:sp>
          <p:nvSpPr>
            <p:cNvPr id="13" name="Google Shape;1624;g2e37ced3bdd_1_0">
              <a:extLst>
                <a:ext uri="{FF2B5EF4-FFF2-40B4-BE49-F238E27FC236}">
                  <a16:creationId xmlns:a16="http://schemas.microsoft.com/office/drawing/2014/main" id="{905FBAC8-ECBF-6BF8-D1A0-6FC14DB2999A}"/>
                </a:ext>
              </a:extLst>
            </p:cNvPr>
            <p:cNvSpPr/>
            <p:nvPr/>
          </p:nvSpPr>
          <p:spPr>
            <a:xfrm>
              <a:off x="4295527" y="3041783"/>
              <a:ext cx="187325" cy="187325"/>
            </a:xfrm>
            <a:custGeom>
              <a:avLst/>
              <a:gdLst/>
              <a:ahLst/>
              <a:cxnLst/>
              <a:rect l="l" t="t" r="r" b="b"/>
              <a:pathLst>
                <a:path w="49" h="49" extrusionOk="0">
                  <a:moveTo>
                    <a:pt x="18" y="4"/>
                  </a:moveTo>
                  <a:cubicBezTo>
                    <a:pt x="29" y="0"/>
                    <a:pt x="41" y="6"/>
                    <a:pt x="45" y="18"/>
                  </a:cubicBezTo>
                  <a:cubicBezTo>
                    <a:pt x="49" y="29"/>
                    <a:pt x="43" y="41"/>
                    <a:pt x="31" y="45"/>
                  </a:cubicBezTo>
                  <a:cubicBezTo>
                    <a:pt x="20" y="49"/>
                    <a:pt x="7" y="43"/>
                    <a:pt x="4" y="31"/>
                  </a:cubicBezTo>
                  <a:cubicBezTo>
                    <a:pt x="0" y="20"/>
                    <a:pt x="6" y="8"/>
                    <a:pt x="18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625;g2e37ced3bdd_1_0">
              <a:extLst>
                <a:ext uri="{FF2B5EF4-FFF2-40B4-BE49-F238E27FC236}">
                  <a16:creationId xmlns:a16="http://schemas.microsoft.com/office/drawing/2014/main" id="{7C291C84-1F46-D66A-EE75-AB6C53953E20}"/>
                </a:ext>
              </a:extLst>
            </p:cNvPr>
            <p:cNvSpPr/>
            <p:nvPr/>
          </p:nvSpPr>
          <p:spPr>
            <a:xfrm>
              <a:off x="4215352" y="2960820"/>
              <a:ext cx="347663" cy="347663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33" y="7"/>
                  </a:moveTo>
                  <a:cubicBezTo>
                    <a:pt x="54" y="0"/>
                    <a:pt x="77" y="12"/>
                    <a:pt x="84" y="33"/>
                  </a:cubicBezTo>
                  <a:cubicBezTo>
                    <a:pt x="91" y="54"/>
                    <a:pt x="79" y="77"/>
                    <a:pt x="58" y="84"/>
                  </a:cubicBezTo>
                  <a:cubicBezTo>
                    <a:pt x="37" y="91"/>
                    <a:pt x="14" y="79"/>
                    <a:pt x="7" y="58"/>
                  </a:cubicBezTo>
                  <a:cubicBezTo>
                    <a:pt x="0" y="37"/>
                    <a:pt x="12" y="14"/>
                    <a:pt x="33" y="7"/>
                  </a:cubicBezTo>
                  <a:close/>
                </a:path>
              </a:pathLst>
            </a:custGeom>
            <a:noFill/>
            <a:ln w="539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91512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8" name="Google Shape;1728;g2e37ced3bdd_2_0"/>
          <p:cNvGrpSpPr/>
          <p:nvPr/>
        </p:nvGrpSpPr>
        <p:grpSpPr>
          <a:xfrm>
            <a:off x="4977112" y="502330"/>
            <a:ext cx="6936256" cy="5700936"/>
            <a:chOff x="-3907438" y="777855"/>
            <a:chExt cx="6936256" cy="5700936"/>
          </a:xfrm>
        </p:grpSpPr>
        <p:grpSp>
          <p:nvGrpSpPr>
            <p:cNvPr id="1729" name="Google Shape;1729;g2e37ced3bdd_2_0"/>
            <p:cNvGrpSpPr/>
            <p:nvPr/>
          </p:nvGrpSpPr>
          <p:grpSpPr>
            <a:xfrm>
              <a:off x="-3907438" y="777855"/>
              <a:ext cx="6802778" cy="5700936"/>
              <a:chOff x="6502050" y="1190054"/>
              <a:chExt cx="4722838" cy="4722838"/>
            </a:xfrm>
          </p:grpSpPr>
          <p:sp>
            <p:nvSpPr>
              <p:cNvPr id="1730" name="Google Shape;1730;g2e37ced3bdd_2_0"/>
              <p:cNvSpPr/>
              <p:nvPr/>
            </p:nvSpPr>
            <p:spPr>
              <a:xfrm>
                <a:off x="8066050" y="2866398"/>
                <a:ext cx="1601447" cy="1387777"/>
              </a:xfrm>
              <a:custGeom>
                <a:avLst/>
                <a:gdLst/>
                <a:ahLst/>
                <a:cxnLst/>
                <a:rect l="l" t="t" r="r" b="b"/>
                <a:pathLst>
                  <a:path w="1454" h="1260" extrusionOk="0">
                    <a:moveTo>
                      <a:pt x="364" y="1260"/>
                    </a:moveTo>
                    <a:lnTo>
                      <a:pt x="0" y="630"/>
                    </a:lnTo>
                    <a:lnTo>
                      <a:pt x="364" y="0"/>
                    </a:lnTo>
                    <a:lnTo>
                      <a:pt x="1090" y="0"/>
                    </a:lnTo>
                    <a:lnTo>
                      <a:pt x="1454" y="630"/>
                    </a:lnTo>
                    <a:lnTo>
                      <a:pt x="1090" y="1260"/>
                    </a:lnTo>
                    <a:lnTo>
                      <a:pt x="364" y="1260"/>
                    </a:ln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31" name="Google Shape;1731;g2e37ced3bdd_2_0"/>
              <p:cNvSpPr/>
              <p:nvPr/>
            </p:nvSpPr>
            <p:spPr>
              <a:xfrm>
                <a:off x="7136462" y="1190054"/>
                <a:ext cx="2138933" cy="2246871"/>
              </a:xfrm>
              <a:custGeom>
                <a:avLst/>
                <a:gdLst/>
                <a:ahLst/>
                <a:cxnLst/>
                <a:rect l="l" t="t" r="r" b="b"/>
                <a:pathLst>
                  <a:path w="1942" h="2040" extrusionOk="0">
                    <a:moveTo>
                      <a:pt x="1942" y="32"/>
                    </a:moveTo>
                    <a:lnTo>
                      <a:pt x="1942" y="32"/>
                    </a:lnTo>
                    <a:lnTo>
                      <a:pt x="1850" y="18"/>
                    </a:lnTo>
                    <a:lnTo>
                      <a:pt x="1758" y="8"/>
                    </a:lnTo>
                    <a:lnTo>
                      <a:pt x="1664" y="2"/>
                    </a:lnTo>
                    <a:lnTo>
                      <a:pt x="1568" y="0"/>
                    </a:lnTo>
                    <a:lnTo>
                      <a:pt x="1568" y="0"/>
                    </a:lnTo>
                    <a:lnTo>
                      <a:pt x="1510" y="2"/>
                    </a:lnTo>
                    <a:lnTo>
                      <a:pt x="1452" y="4"/>
                    </a:lnTo>
                    <a:lnTo>
                      <a:pt x="1396" y="8"/>
                    </a:lnTo>
                    <a:lnTo>
                      <a:pt x="1338" y="12"/>
                    </a:lnTo>
                    <a:lnTo>
                      <a:pt x="1282" y="20"/>
                    </a:lnTo>
                    <a:lnTo>
                      <a:pt x="1226" y="28"/>
                    </a:lnTo>
                    <a:lnTo>
                      <a:pt x="1172" y="36"/>
                    </a:lnTo>
                    <a:lnTo>
                      <a:pt x="1116" y="48"/>
                    </a:lnTo>
                    <a:lnTo>
                      <a:pt x="1062" y="60"/>
                    </a:lnTo>
                    <a:lnTo>
                      <a:pt x="1008" y="74"/>
                    </a:lnTo>
                    <a:lnTo>
                      <a:pt x="956" y="90"/>
                    </a:lnTo>
                    <a:lnTo>
                      <a:pt x="902" y="106"/>
                    </a:lnTo>
                    <a:lnTo>
                      <a:pt x="850" y="124"/>
                    </a:lnTo>
                    <a:lnTo>
                      <a:pt x="800" y="142"/>
                    </a:lnTo>
                    <a:lnTo>
                      <a:pt x="748" y="162"/>
                    </a:lnTo>
                    <a:lnTo>
                      <a:pt x="698" y="184"/>
                    </a:lnTo>
                    <a:lnTo>
                      <a:pt x="648" y="206"/>
                    </a:lnTo>
                    <a:lnTo>
                      <a:pt x="600" y="230"/>
                    </a:lnTo>
                    <a:lnTo>
                      <a:pt x="552" y="256"/>
                    </a:lnTo>
                    <a:lnTo>
                      <a:pt x="504" y="282"/>
                    </a:lnTo>
                    <a:lnTo>
                      <a:pt x="458" y="310"/>
                    </a:lnTo>
                    <a:lnTo>
                      <a:pt x="412" y="338"/>
                    </a:lnTo>
                    <a:lnTo>
                      <a:pt x="366" y="368"/>
                    </a:lnTo>
                    <a:lnTo>
                      <a:pt x="322" y="400"/>
                    </a:lnTo>
                    <a:lnTo>
                      <a:pt x="280" y="432"/>
                    </a:lnTo>
                    <a:lnTo>
                      <a:pt x="236" y="464"/>
                    </a:lnTo>
                    <a:lnTo>
                      <a:pt x="194" y="498"/>
                    </a:lnTo>
                    <a:lnTo>
                      <a:pt x="154" y="534"/>
                    </a:lnTo>
                    <a:lnTo>
                      <a:pt x="114" y="570"/>
                    </a:lnTo>
                    <a:lnTo>
                      <a:pt x="74" y="606"/>
                    </a:lnTo>
                    <a:lnTo>
                      <a:pt x="36" y="644"/>
                    </a:lnTo>
                    <a:lnTo>
                      <a:pt x="0" y="684"/>
                    </a:lnTo>
                    <a:lnTo>
                      <a:pt x="782" y="2040"/>
                    </a:lnTo>
                    <a:lnTo>
                      <a:pt x="1942" y="32"/>
                    </a:lnTo>
                    <a:close/>
                  </a:path>
                </a:pathLst>
              </a:custGeom>
              <a:solidFill>
                <a:srgbClr val="00A499"/>
              </a:solidFill>
              <a:ln w="9525" cap="flat" cmpd="sng">
                <a:solidFill>
                  <a:srgbClr val="00A49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32" name="Google Shape;1732;g2e37ced3bdd_2_0"/>
              <p:cNvSpPr/>
              <p:nvPr/>
            </p:nvSpPr>
            <p:spPr>
              <a:xfrm>
                <a:off x="8477977" y="3694657"/>
                <a:ext cx="2110297" cy="2218235"/>
              </a:xfrm>
              <a:custGeom>
                <a:avLst/>
                <a:gdLst/>
                <a:ahLst/>
                <a:cxnLst/>
                <a:rect l="l" t="t" r="r" b="b"/>
                <a:pathLst>
                  <a:path w="1916" h="2014" extrusionOk="0">
                    <a:moveTo>
                      <a:pt x="0" y="1986"/>
                    </a:moveTo>
                    <a:lnTo>
                      <a:pt x="0" y="1986"/>
                    </a:lnTo>
                    <a:lnTo>
                      <a:pt x="86" y="1998"/>
                    </a:lnTo>
                    <a:lnTo>
                      <a:pt x="174" y="2006"/>
                    </a:lnTo>
                    <a:lnTo>
                      <a:pt x="262" y="2012"/>
                    </a:lnTo>
                    <a:lnTo>
                      <a:pt x="350" y="2014"/>
                    </a:lnTo>
                    <a:lnTo>
                      <a:pt x="350" y="2014"/>
                    </a:lnTo>
                    <a:lnTo>
                      <a:pt x="408" y="2012"/>
                    </a:lnTo>
                    <a:lnTo>
                      <a:pt x="466" y="2010"/>
                    </a:lnTo>
                    <a:lnTo>
                      <a:pt x="522" y="2006"/>
                    </a:lnTo>
                    <a:lnTo>
                      <a:pt x="578" y="2002"/>
                    </a:lnTo>
                    <a:lnTo>
                      <a:pt x="634" y="1994"/>
                    </a:lnTo>
                    <a:lnTo>
                      <a:pt x="690" y="1986"/>
                    </a:lnTo>
                    <a:lnTo>
                      <a:pt x="746" y="1978"/>
                    </a:lnTo>
                    <a:lnTo>
                      <a:pt x="800" y="1966"/>
                    </a:lnTo>
                    <a:lnTo>
                      <a:pt x="854" y="1954"/>
                    </a:lnTo>
                    <a:lnTo>
                      <a:pt x="908" y="1940"/>
                    </a:lnTo>
                    <a:lnTo>
                      <a:pt x="962" y="1926"/>
                    </a:lnTo>
                    <a:lnTo>
                      <a:pt x="1014" y="1908"/>
                    </a:lnTo>
                    <a:lnTo>
                      <a:pt x="1066" y="1892"/>
                    </a:lnTo>
                    <a:lnTo>
                      <a:pt x="1118" y="1872"/>
                    </a:lnTo>
                    <a:lnTo>
                      <a:pt x="1168" y="1852"/>
                    </a:lnTo>
                    <a:lnTo>
                      <a:pt x="1218" y="1830"/>
                    </a:lnTo>
                    <a:lnTo>
                      <a:pt x="1268" y="1808"/>
                    </a:lnTo>
                    <a:lnTo>
                      <a:pt x="1316" y="1784"/>
                    </a:lnTo>
                    <a:lnTo>
                      <a:pt x="1364" y="1760"/>
                    </a:lnTo>
                    <a:lnTo>
                      <a:pt x="1412" y="1732"/>
                    </a:lnTo>
                    <a:lnTo>
                      <a:pt x="1458" y="1706"/>
                    </a:lnTo>
                    <a:lnTo>
                      <a:pt x="1504" y="1676"/>
                    </a:lnTo>
                    <a:lnTo>
                      <a:pt x="1548" y="1648"/>
                    </a:lnTo>
                    <a:lnTo>
                      <a:pt x="1592" y="1616"/>
                    </a:lnTo>
                    <a:lnTo>
                      <a:pt x="1636" y="1584"/>
                    </a:lnTo>
                    <a:lnTo>
                      <a:pt x="1678" y="1552"/>
                    </a:lnTo>
                    <a:lnTo>
                      <a:pt x="1720" y="1518"/>
                    </a:lnTo>
                    <a:lnTo>
                      <a:pt x="1762" y="1484"/>
                    </a:lnTo>
                    <a:lnTo>
                      <a:pt x="1802" y="1448"/>
                    </a:lnTo>
                    <a:lnTo>
                      <a:pt x="1840" y="1410"/>
                    </a:lnTo>
                    <a:lnTo>
                      <a:pt x="1878" y="1372"/>
                    </a:lnTo>
                    <a:lnTo>
                      <a:pt x="1916" y="1334"/>
                    </a:lnTo>
                    <a:lnTo>
                      <a:pt x="1146" y="0"/>
                    </a:lnTo>
                    <a:lnTo>
                      <a:pt x="0" y="1986"/>
                    </a:lnTo>
                    <a:close/>
                  </a:path>
                </a:pathLst>
              </a:custGeom>
              <a:solidFill>
                <a:srgbClr val="4472C4"/>
              </a:solidFill>
              <a:ln w="9525" cap="flat" cmpd="sng">
                <a:solidFill>
                  <a:srgbClr val="4472C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733" name="Google Shape;1733;g2e37ced3bdd_2_0"/>
              <p:cNvSpPr/>
              <p:nvPr/>
            </p:nvSpPr>
            <p:spPr>
              <a:xfrm>
                <a:off x="6502050" y="2033733"/>
                <a:ext cx="1832742" cy="2220438"/>
              </a:xfrm>
              <a:custGeom>
                <a:avLst/>
                <a:gdLst/>
                <a:ahLst/>
                <a:cxnLst/>
                <a:rect l="l" t="t" r="r" b="b"/>
                <a:pathLst>
                  <a:path w="1664" h="2016" extrusionOk="0">
                    <a:moveTo>
                      <a:pt x="1300" y="1386"/>
                    </a:moveTo>
                    <a:lnTo>
                      <a:pt x="1302" y="1384"/>
                    </a:lnTo>
                    <a:lnTo>
                      <a:pt x="1300" y="1382"/>
                    </a:lnTo>
                    <a:lnTo>
                      <a:pt x="1298" y="1380"/>
                    </a:lnTo>
                    <a:lnTo>
                      <a:pt x="1298" y="1378"/>
                    </a:lnTo>
                    <a:lnTo>
                      <a:pt x="502" y="0"/>
                    </a:lnTo>
                    <a:lnTo>
                      <a:pt x="502" y="0"/>
                    </a:lnTo>
                    <a:lnTo>
                      <a:pt x="446" y="70"/>
                    </a:lnTo>
                    <a:lnTo>
                      <a:pt x="392" y="144"/>
                    </a:lnTo>
                    <a:lnTo>
                      <a:pt x="340" y="220"/>
                    </a:lnTo>
                    <a:lnTo>
                      <a:pt x="292" y="298"/>
                    </a:lnTo>
                    <a:lnTo>
                      <a:pt x="248" y="378"/>
                    </a:lnTo>
                    <a:lnTo>
                      <a:pt x="206" y="460"/>
                    </a:lnTo>
                    <a:lnTo>
                      <a:pt x="168" y="546"/>
                    </a:lnTo>
                    <a:lnTo>
                      <a:pt x="134" y="632"/>
                    </a:lnTo>
                    <a:lnTo>
                      <a:pt x="104" y="720"/>
                    </a:lnTo>
                    <a:lnTo>
                      <a:pt x="76" y="810"/>
                    </a:lnTo>
                    <a:lnTo>
                      <a:pt x="54" y="900"/>
                    </a:lnTo>
                    <a:lnTo>
                      <a:pt x="34" y="994"/>
                    </a:lnTo>
                    <a:lnTo>
                      <a:pt x="20" y="1088"/>
                    </a:lnTo>
                    <a:lnTo>
                      <a:pt x="10" y="1184"/>
                    </a:lnTo>
                    <a:lnTo>
                      <a:pt x="2" y="1280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2" y="1460"/>
                    </a:lnTo>
                    <a:lnTo>
                      <a:pt x="6" y="1542"/>
                    </a:lnTo>
                    <a:lnTo>
                      <a:pt x="14" y="1624"/>
                    </a:lnTo>
                    <a:lnTo>
                      <a:pt x="24" y="1704"/>
                    </a:lnTo>
                    <a:lnTo>
                      <a:pt x="38" y="1784"/>
                    </a:lnTo>
                    <a:lnTo>
                      <a:pt x="56" y="1862"/>
                    </a:lnTo>
                    <a:lnTo>
                      <a:pt x="74" y="1938"/>
                    </a:lnTo>
                    <a:lnTo>
                      <a:pt x="96" y="2016"/>
                    </a:lnTo>
                    <a:lnTo>
                      <a:pt x="1664" y="2016"/>
                    </a:lnTo>
                    <a:lnTo>
                      <a:pt x="1300" y="138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734" name="Google Shape;1734;g2e37ced3bdd_2_0"/>
              <p:cNvSpPr/>
              <p:nvPr/>
            </p:nvSpPr>
            <p:spPr>
              <a:xfrm>
                <a:off x="6647436" y="4368719"/>
                <a:ext cx="2572888" cy="1489103"/>
              </a:xfrm>
              <a:custGeom>
                <a:avLst/>
                <a:gdLst/>
                <a:ahLst/>
                <a:cxnLst/>
                <a:rect l="l" t="t" r="r" b="b"/>
                <a:pathLst>
                  <a:path w="2336" h="1352" extrusionOk="0">
                    <a:moveTo>
                      <a:pt x="159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4" y="62"/>
                    </a:lnTo>
                    <a:lnTo>
                      <a:pt x="50" y="124"/>
                    </a:lnTo>
                    <a:lnTo>
                      <a:pt x="78" y="186"/>
                    </a:lnTo>
                    <a:lnTo>
                      <a:pt x="110" y="246"/>
                    </a:lnTo>
                    <a:lnTo>
                      <a:pt x="140" y="304"/>
                    </a:lnTo>
                    <a:lnTo>
                      <a:pt x="174" y="362"/>
                    </a:lnTo>
                    <a:lnTo>
                      <a:pt x="210" y="420"/>
                    </a:lnTo>
                    <a:lnTo>
                      <a:pt x="248" y="476"/>
                    </a:lnTo>
                    <a:lnTo>
                      <a:pt x="286" y="530"/>
                    </a:lnTo>
                    <a:lnTo>
                      <a:pt x="326" y="582"/>
                    </a:lnTo>
                    <a:lnTo>
                      <a:pt x="368" y="634"/>
                    </a:lnTo>
                    <a:lnTo>
                      <a:pt x="412" y="684"/>
                    </a:lnTo>
                    <a:lnTo>
                      <a:pt x="458" y="734"/>
                    </a:lnTo>
                    <a:lnTo>
                      <a:pt x="504" y="782"/>
                    </a:lnTo>
                    <a:lnTo>
                      <a:pt x="552" y="828"/>
                    </a:lnTo>
                    <a:lnTo>
                      <a:pt x="602" y="872"/>
                    </a:lnTo>
                    <a:lnTo>
                      <a:pt x="652" y="914"/>
                    </a:lnTo>
                    <a:lnTo>
                      <a:pt x="704" y="956"/>
                    </a:lnTo>
                    <a:lnTo>
                      <a:pt x="758" y="996"/>
                    </a:lnTo>
                    <a:lnTo>
                      <a:pt x="812" y="1034"/>
                    </a:lnTo>
                    <a:lnTo>
                      <a:pt x="868" y="1072"/>
                    </a:lnTo>
                    <a:lnTo>
                      <a:pt x="926" y="1106"/>
                    </a:lnTo>
                    <a:lnTo>
                      <a:pt x="984" y="1140"/>
                    </a:lnTo>
                    <a:lnTo>
                      <a:pt x="1044" y="1170"/>
                    </a:lnTo>
                    <a:lnTo>
                      <a:pt x="1104" y="1200"/>
                    </a:lnTo>
                    <a:lnTo>
                      <a:pt x="1166" y="1228"/>
                    </a:lnTo>
                    <a:lnTo>
                      <a:pt x="1228" y="1254"/>
                    </a:lnTo>
                    <a:lnTo>
                      <a:pt x="1292" y="1278"/>
                    </a:lnTo>
                    <a:lnTo>
                      <a:pt x="1356" y="1300"/>
                    </a:lnTo>
                    <a:lnTo>
                      <a:pt x="1420" y="1320"/>
                    </a:lnTo>
                    <a:lnTo>
                      <a:pt x="1488" y="1336"/>
                    </a:lnTo>
                    <a:lnTo>
                      <a:pt x="1554" y="1352"/>
                    </a:lnTo>
                    <a:lnTo>
                      <a:pt x="2336" y="0"/>
                    </a:lnTo>
                    <a:lnTo>
                      <a:pt x="159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735" name="Google Shape;1735;g2e37ced3bdd_2_0"/>
              <p:cNvSpPr/>
              <p:nvPr/>
            </p:nvSpPr>
            <p:spPr>
              <a:xfrm>
                <a:off x="8530845" y="1249531"/>
                <a:ext cx="2553063" cy="1493509"/>
              </a:xfrm>
              <a:custGeom>
                <a:avLst/>
                <a:gdLst/>
                <a:ahLst/>
                <a:cxnLst/>
                <a:rect l="l" t="t" r="r" b="b"/>
                <a:pathLst>
                  <a:path w="2318" h="1356" extrusionOk="0">
                    <a:moveTo>
                      <a:pt x="2318" y="1356"/>
                    </a:moveTo>
                    <a:lnTo>
                      <a:pt x="2318" y="1356"/>
                    </a:lnTo>
                    <a:lnTo>
                      <a:pt x="2294" y="1294"/>
                    </a:lnTo>
                    <a:lnTo>
                      <a:pt x="2268" y="1232"/>
                    </a:lnTo>
                    <a:lnTo>
                      <a:pt x="2240" y="1172"/>
                    </a:lnTo>
                    <a:lnTo>
                      <a:pt x="2210" y="1112"/>
                    </a:lnTo>
                    <a:lnTo>
                      <a:pt x="2178" y="1052"/>
                    </a:lnTo>
                    <a:lnTo>
                      <a:pt x="2146" y="994"/>
                    </a:lnTo>
                    <a:lnTo>
                      <a:pt x="2110" y="938"/>
                    </a:lnTo>
                    <a:lnTo>
                      <a:pt x="2074" y="882"/>
                    </a:lnTo>
                    <a:lnTo>
                      <a:pt x="2036" y="828"/>
                    </a:lnTo>
                    <a:lnTo>
                      <a:pt x="1996" y="776"/>
                    </a:lnTo>
                    <a:lnTo>
                      <a:pt x="1954" y="724"/>
                    </a:lnTo>
                    <a:lnTo>
                      <a:pt x="1912" y="674"/>
                    </a:lnTo>
                    <a:lnTo>
                      <a:pt x="1866" y="624"/>
                    </a:lnTo>
                    <a:lnTo>
                      <a:pt x="1820" y="578"/>
                    </a:lnTo>
                    <a:lnTo>
                      <a:pt x="1774" y="532"/>
                    </a:lnTo>
                    <a:lnTo>
                      <a:pt x="1724" y="486"/>
                    </a:lnTo>
                    <a:lnTo>
                      <a:pt x="1674" y="444"/>
                    </a:lnTo>
                    <a:lnTo>
                      <a:pt x="1624" y="402"/>
                    </a:lnTo>
                    <a:lnTo>
                      <a:pt x="1570" y="362"/>
                    </a:lnTo>
                    <a:lnTo>
                      <a:pt x="1516" y="324"/>
                    </a:lnTo>
                    <a:lnTo>
                      <a:pt x="1462" y="286"/>
                    </a:lnTo>
                    <a:lnTo>
                      <a:pt x="1404" y="252"/>
                    </a:lnTo>
                    <a:lnTo>
                      <a:pt x="1348" y="218"/>
                    </a:lnTo>
                    <a:lnTo>
                      <a:pt x="1288" y="186"/>
                    </a:lnTo>
                    <a:lnTo>
                      <a:pt x="1228" y="156"/>
                    </a:lnTo>
                    <a:lnTo>
                      <a:pt x="1168" y="128"/>
                    </a:lnTo>
                    <a:lnTo>
                      <a:pt x="1106" y="102"/>
                    </a:lnTo>
                    <a:lnTo>
                      <a:pt x="1044" y="78"/>
                    </a:lnTo>
                    <a:lnTo>
                      <a:pt x="980" y="56"/>
                    </a:lnTo>
                    <a:lnTo>
                      <a:pt x="916" y="36"/>
                    </a:lnTo>
                    <a:lnTo>
                      <a:pt x="850" y="16"/>
                    </a:lnTo>
                    <a:lnTo>
                      <a:pt x="784" y="0"/>
                    </a:lnTo>
                    <a:lnTo>
                      <a:pt x="0" y="1356"/>
                    </a:lnTo>
                    <a:lnTo>
                      <a:pt x="2318" y="1356"/>
                    </a:lnTo>
                    <a:close/>
                  </a:path>
                </a:pathLst>
              </a:custGeom>
              <a:solidFill>
                <a:srgbClr val="006AB4"/>
              </a:solidFill>
              <a:ln w="9525" cap="flat" cmpd="sng">
                <a:solidFill>
                  <a:srgbClr val="006AB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736" name="Google Shape;1736;g2e37ced3bdd_2_0"/>
              <p:cNvSpPr/>
              <p:nvPr/>
            </p:nvSpPr>
            <p:spPr>
              <a:xfrm>
                <a:off x="9394349" y="2857587"/>
                <a:ext cx="1830539" cy="2216032"/>
              </a:xfrm>
              <a:custGeom>
                <a:avLst/>
                <a:gdLst/>
                <a:ahLst/>
                <a:cxnLst/>
                <a:rect l="l" t="t" r="r" b="b"/>
                <a:pathLst>
                  <a:path w="1662" h="2012" extrusionOk="0">
                    <a:moveTo>
                      <a:pt x="368" y="638"/>
                    </a:moveTo>
                    <a:lnTo>
                      <a:pt x="366" y="642"/>
                    </a:lnTo>
                    <a:lnTo>
                      <a:pt x="1156" y="2012"/>
                    </a:lnTo>
                    <a:lnTo>
                      <a:pt x="1156" y="2012"/>
                    </a:lnTo>
                    <a:lnTo>
                      <a:pt x="1214" y="1940"/>
                    </a:lnTo>
                    <a:lnTo>
                      <a:pt x="1268" y="1868"/>
                    </a:lnTo>
                    <a:lnTo>
                      <a:pt x="1320" y="1792"/>
                    </a:lnTo>
                    <a:lnTo>
                      <a:pt x="1368" y="1712"/>
                    </a:lnTo>
                    <a:lnTo>
                      <a:pt x="1414" y="1632"/>
                    </a:lnTo>
                    <a:lnTo>
                      <a:pt x="1454" y="1550"/>
                    </a:lnTo>
                    <a:lnTo>
                      <a:pt x="1492" y="1466"/>
                    </a:lnTo>
                    <a:lnTo>
                      <a:pt x="1528" y="1378"/>
                    </a:lnTo>
                    <a:lnTo>
                      <a:pt x="1558" y="1290"/>
                    </a:lnTo>
                    <a:lnTo>
                      <a:pt x="1584" y="1200"/>
                    </a:lnTo>
                    <a:lnTo>
                      <a:pt x="1608" y="1108"/>
                    </a:lnTo>
                    <a:lnTo>
                      <a:pt x="1628" y="1016"/>
                    </a:lnTo>
                    <a:lnTo>
                      <a:pt x="1642" y="922"/>
                    </a:lnTo>
                    <a:lnTo>
                      <a:pt x="1652" y="826"/>
                    </a:lnTo>
                    <a:lnTo>
                      <a:pt x="1660" y="728"/>
                    </a:lnTo>
                    <a:lnTo>
                      <a:pt x="1662" y="630"/>
                    </a:lnTo>
                    <a:lnTo>
                      <a:pt x="1662" y="630"/>
                    </a:lnTo>
                    <a:lnTo>
                      <a:pt x="1660" y="548"/>
                    </a:lnTo>
                    <a:lnTo>
                      <a:pt x="1656" y="468"/>
                    </a:lnTo>
                    <a:lnTo>
                      <a:pt x="1648" y="388"/>
                    </a:lnTo>
                    <a:lnTo>
                      <a:pt x="1638" y="308"/>
                    </a:lnTo>
                    <a:lnTo>
                      <a:pt x="1624" y="230"/>
                    </a:lnTo>
                    <a:lnTo>
                      <a:pt x="1608" y="152"/>
                    </a:lnTo>
                    <a:lnTo>
                      <a:pt x="1590" y="76"/>
                    </a:lnTo>
                    <a:lnTo>
                      <a:pt x="1568" y="0"/>
                    </a:lnTo>
                    <a:lnTo>
                      <a:pt x="0" y="0"/>
                    </a:lnTo>
                    <a:lnTo>
                      <a:pt x="368" y="638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737" name="Google Shape;1737;g2e37ced3bdd_2_0"/>
              <p:cNvSpPr/>
              <p:nvPr/>
            </p:nvSpPr>
            <p:spPr>
              <a:xfrm>
                <a:off x="8652000" y="4432601"/>
                <a:ext cx="319408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90" h="290" extrusionOk="0">
                    <a:moveTo>
                      <a:pt x="290" y="144"/>
                    </a:moveTo>
                    <a:lnTo>
                      <a:pt x="290" y="144"/>
                    </a:lnTo>
                    <a:lnTo>
                      <a:pt x="288" y="160"/>
                    </a:lnTo>
                    <a:lnTo>
                      <a:pt x="286" y="174"/>
                    </a:lnTo>
                    <a:lnTo>
                      <a:pt x="282" y="188"/>
                    </a:lnTo>
                    <a:lnTo>
                      <a:pt x="278" y="200"/>
                    </a:lnTo>
                    <a:lnTo>
                      <a:pt x="272" y="214"/>
                    </a:lnTo>
                    <a:lnTo>
                      <a:pt x="264" y="226"/>
                    </a:lnTo>
                    <a:lnTo>
                      <a:pt x="256" y="236"/>
                    </a:lnTo>
                    <a:lnTo>
                      <a:pt x="246" y="246"/>
                    </a:lnTo>
                    <a:lnTo>
                      <a:pt x="236" y="256"/>
                    </a:lnTo>
                    <a:lnTo>
                      <a:pt x="226" y="264"/>
                    </a:lnTo>
                    <a:lnTo>
                      <a:pt x="214" y="272"/>
                    </a:lnTo>
                    <a:lnTo>
                      <a:pt x="200" y="278"/>
                    </a:lnTo>
                    <a:lnTo>
                      <a:pt x="188" y="282"/>
                    </a:lnTo>
                    <a:lnTo>
                      <a:pt x="174" y="286"/>
                    </a:lnTo>
                    <a:lnTo>
                      <a:pt x="160" y="288"/>
                    </a:lnTo>
                    <a:lnTo>
                      <a:pt x="144" y="290"/>
                    </a:lnTo>
                    <a:lnTo>
                      <a:pt x="144" y="290"/>
                    </a:lnTo>
                    <a:lnTo>
                      <a:pt x="130" y="288"/>
                    </a:lnTo>
                    <a:lnTo>
                      <a:pt x="116" y="286"/>
                    </a:lnTo>
                    <a:lnTo>
                      <a:pt x="102" y="282"/>
                    </a:lnTo>
                    <a:lnTo>
                      <a:pt x="88" y="278"/>
                    </a:lnTo>
                    <a:lnTo>
                      <a:pt x="76" y="272"/>
                    </a:lnTo>
                    <a:lnTo>
                      <a:pt x="64" y="264"/>
                    </a:lnTo>
                    <a:lnTo>
                      <a:pt x="52" y="256"/>
                    </a:lnTo>
                    <a:lnTo>
                      <a:pt x="42" y="246"/>
                    </a:lnTo>
                    <a:lnTo>
                      <a:pt x="34" y="236"/>
                    </a:lnTo>
                    <a:lnTo>
                      <a:pt x="24" y="226"/>
                    </a:lnTo>
                    <a:lnTo>
                      <a:pt x="18" y="214"/>
                    </a:lnTo>
                    <a:lnTo>
                      <a:pt x="12" y="200"/>
                    </a:lnTo>
                    <a:lnTo>
                      <a:pt x="6" y="188"/>
                    </a:lnTo>
                    <a:lnTo>
                      <a:pt x="2" y="174"/>
                    </a:lnTo>
                    <a:lnTo>
                      <a:pt x="0" y="160"/>
                    </a:lnTo>
                    <a:lnTo>
                      <a:pt x="0" y="144"/>
                    </a:lnTo>
                    <a:lnTo>
                      <a:pt x="0" y="144"/>
                    </a:lnTo>
                    <a:lnTo>
                      <a:pt x="0" y="130"/>
                    </a:lnTo>
                    <a:lnTo>
                      <a:pt x="2" y="116"/>
                    </a:lnTo>
                    <a:lnTo>
                      <a:pt x="6" y="102"/>
                    </a:lnTo>
                    <a:lnTo>
                      <a:pt x="12" y="88"/>
                    </a:lnTo>
                    <a:lnTo>
                      <a:pt x="18" y="76"/>
                    </a:lnTo>
                    <a:lnTo>
                      <a:pt x="24" y="64"/>
                    </a:lnTo>
                    <a:lnTo>
                      <a:pt x="34" y="52"/>
                    </a:lnTo>
                    <a:lnTo>
                      <a:pt x="42" y="42"/>
                    </a:lnTo>
                    <a:lnTo>
                      <a:pt x="52" y="34"/>
                    </a:lnTo>
                    <a:lnTo>
                      <a:pt x="64" y="24"/>
                    </a:lnTo>
                    <a:lnTo>
                      <a:pt x="76" y="18"/>
                    </a:lnTo>
                    <a:lnTo>
                      <a:pt x="88" y="12"/>
                    </a:lnTo>
                    <a:lnTo>
                      <a:pt x="102" y="6"/>
                    </a:lnTo>
                    <a:lnTo>
                      <a:pt x="116" y="2"/>
                    </a:lnTo>
                    <a:lnTo>
                      <a:pt x="130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0" y="0"/>
                    </a:lnTo>
                    <a:lnTo>
                      <a:pt x="174" y="2"/>
                    </a:lnTo>
                    <a:lnTo>
                      <a:pt x="188" y="6"/>
                    </a:lnTo>
                    <a:lnTo>
                      <a:pt x="200" y="12"/>
                    </a:lnTo>
                    <a:lnTo>
                      <a:pt x="214" y="18"/>
                    </a:lnTo>
                    <a:lnTo>
                      <a:pt x="226" y="24"/>
                    </a:lnTo>
                    <a:lnTo>
                      <a:pt x="236" y="34"/>
                    </a:lnTo>
                    <a:lnTo>
                      <a:pt x="246" y="42"/>
                    </a:lnTo>
                    <a:lnTo>
                      <a:pt x="256" y="52"/>
                    </a:lnTo>
                    <a:lnTo>
                      <a:pt x="264" y="64"/>
                    </a:lnTo>
                    <a:lnTo>
                      <a:pt x="272" y="76"/>
                    </a:lnTo>
                    <a:lnTo>
                      <a:pt x="278" y="88"/>
                    </a:lnTo>
                    <a:lnTo>
                      <a:pt x="282" y="102"/>
                    </a:lnTo>
                    <a:lnTo>
                      <a:pt x="286" y="116"/>
                    </a:lnTo>
                    <a:lnTo>
                      <a:pt x="288" y="130"/>
                    </a:lnTo>
                    <a:lnTo>
                      <a:pt x="290" y="144"/>
                    </a:lnTo>
                    <a:lnTo>
                      <a:pt x="290" y="1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38" name="Google Shape;1738;g2e37ced3bdd_2_0"/>
              <p:cNvSpPr/>
              <p:nvPr/>
            </p:nvSpPr>
            <p:spPr>
              <a:xfrm>
                <a:off x="9579385" y="3956793"/>
                <a:ext cx="319408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90" h="290" extrusionOk="0">
                    <a:moveTo>
                      <a:pt x="216" y="20"/>
                    </a:moveTo>
                    <a:lnTo>
                      <a:pt x="216" y="20"/>
                    </a:lnTo>
                    <a:lnTo>
                      <a:pt x="230" y="28"/>
                    </a:lnTo>
                    <a:lnTo>
                      <a:pt x="240" y="38"/>
                    </a:lnTo>
                    <a:lnTo>
                      <a:pt x="250" y="48"/>
                    </a:lnTo>
                    <a:lnTo>
                      <a:pt x="260" y="58"/>
                    </a:lnTo>
                    <a:lnTo>
                      <a:pt x="268" y="70"/>
                    </a:lnTo>
                    <a:lnTo>
                      <a:pt x="274" y="82"/>
                    </a:lnTo>
                    <a:lnTo>
                      <a:pt x="280" y="94"/>
                    </a:lnTo>
                    <a:lnTo>
                      <a:pt x="284" y="108"/>
                    </a:lnTo>
                    <a:lnTo>
                      <a:pt x="288" y="122"/>
                    </a:lnTo>
                    <a:lnTo>
                      <a:pt x="288" y="136"/>
                    </a:lnTo>
                    <a:lnTo>
                      <a:pt x="290" y="150"/>
                    </a:lnTo>
                    <a:lnTo>
                      <a:pt x="288" y="164"/>
                    </a:lnTo>
                    <a:lnTo>
                      <a:pt x="286" y="178"/>
                    </a:lnTo>
                    <a:lnTo>
                      <a:pt x="282" y="190"/>
                    </a:lnTo>
                    <a:lnTo>
                      <a:pt x="276" y="204"/>
                    </a:lnTo>
                    <a:lnTo>
                      <a:pt x="270" y="218"/>
                    </a:lnTo>
                    <a:lnTo>
                      <a:pt x="270" y="218"/>
                    </a:lnTo>
                    <a:lnTo>
                      <a:pt x="262" y="230"/>
                    </a:lnTo>
                    <a:lnTo>
                      <a:pt x="252" y="242"/>
                    </a:lnTo>
                    <a:lnTo>
                      <a:pt x="242" y="252"/>
                    </a:lnTo>
                    <a:lnTo>
                      <a:pt x="232" y="260"/>
                    </a:lnTo>
                    <a:lnTo>
                      <a:pt x="220" y="268"/>
                    </a:lnTo>
                    <a:lnTo>
                      <a:pt x="208" y="276"/>
                    </a:lnTo>
                    <a:lnTo>
                      <a:pt x="196" y="280"/>
                    </a:lnTo>
                    <a:lnTo>
                      <a:pt x="182" y="286"/>
                    </a:lnTo>
                    <a:lnTo>
                      <a:pt x="168" y="288"/>
                    </a:lnTo>
                    <a:lnTo>
                      <a:pt x="154" y="290"/>
                    </a:lnTo>
                    <a:lnTo>
                      <a:pt x="140" y="290"/>
                    </a:lnTo>
                    <a:lnTo>
                      <a:pt x="126" y="288"/>
                    </a:lnTo>
                    <a:lnTo>
                      <a:pt x="112" y="286"/>
                    </a:lnTo>
                    <a:lnTo>
                      <a:pt x="98" y="282"/>
                    </a:lnTo>
                    <a:lnTo>
                      <a:pt x="86" y="278"/>
                    </a:lnTo>
                    <a:lnTo>
                      <a:pt x="72" y="270"/>
                    </a:lnTo>
                    <a:lnTo>
                      <a:pt x="72" y="270"/>
                    </a:lnTo>
                    <a:lnTo>
                      <a:pt x="60" y="262"/>
                    </a:lnTo>
                    <a:lnTo>
                      <a:pt x="48" y="254"/>
                    </a:lnTo>
                    <a:lnTo>
                      <a:pt x="38" y="244"/>
                    </a:lnTo>
                    <a:lnTo>
                      <a:pt x="30" y="232"/>
                    </a:lnTo>
                    <a:lnTo>
                      <a:pt x="22" y="222"/>
                    </a:lnTo>
                    <a:lnTo>
                      <a:pt x="14" y="208"/>
                    </a:lnTo>
                    <a:lnTo>
                      <a:pt x="8" y="196"/>
                    </a:lnTo>
                    <a:lnTo>
                      <a:pt x="4" y="182"/>
                    </a:lnTo>
                    <a:lnTo>
                      <a:pt x="2" y="170"/>
                    </a:lnTo>
                    <a:lnTo>
                      <a:pt x="0" y="156"/>
                    </a:lnTo>
                    <a:lnTo>
                      <a:pt x="0" y="142"/>
                    </a:lnTo>
                    <a:lnTo>
                      <a:pt x="0" y="128"/>
                    </a:lnTo>
                    <a:lnTo>
                      <a:pt x="4" y="114"/>
                    </a:lnTo>
                    <a:lnTo>
                      <a:pt x="8" y="100"/>
                    </a:lnTo>
                    <a:lnTo>
                      <a:pt x="12" y="8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8" y="60"/>
                    </a:lnTo>
                    <a:lnTo>
                      <a:pt x="36" y="50"/>
                    </a:lnTo>
                    <a:lnTo>
                      <a:pt x="46" y="38"/>
                    </a:lnTo>
                    <a:lnTo>
                      <a:pt x="58" y="30"/>
                    </a:lnTo>
                    <a:lnTo>
                      <a:pt x="68" y="22"/>
                    </a:lnTo>
                    <a:lnTo>
                      <a:pt x="80" y="16"/>
                    </a:lnTo>
                    <a:lnTo>
                      <a:pt x="94" y="10"/>
                    </a:lnTo>
                    <a:lnTo>
                      <a:pt x="106" y="6"/>
                    </a:lnTo>
                    <a:lnTo>
                      <a:pt x="120" y="2"/>
                    </a:lnTo>
                    <a:lnTo>
                      <a:pt x="134" y="0"/>
                    </a:lnTo>
                    <a:lnTo>
                      <a:pt x="148" y="0"/>
                    </a:lnTo>
                    <a:lnTo>
                      <a:pt x="162" y="2"/>
                    </a:lnTo>
                    <a:lnTo>
                      <a:pt x="176" y="4"/>
                    </a:lnTo>
                    <a:lnTo>
                      <a:pt x="190" y="8"/>
                    </a:lnTo>
                    <a:lnTo>
                      <a:pt x="204" y="14"/>
                    </a:lnTo>
                    <a:lnTo>
                      <a:pt x="216" y="20"/>
                    </a:lnTo>
                    <a:lnTo>
                      <a:pt x="216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39" name="Google Shape;1739;g2e37ced3bdd_2_0"/>
              <p:cNvSpPr/>
              <p:nvPr/>
            </p:nvSpPr>
            <p:spPr>
              <a:xfrm>
                <a:off x="9632253" y="2917063"/>
                <a:ext cx="317206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88" h="290" extrusionOk="0">
                    <a:moveTo>
                      <a:pt x="72" y="20"/>
                    </a:moveTo>
                    <a:lnTo>
                      <a:pt x="72" y="20"/>
                    </a:lnTo>
                    <a:lnTo>
                      <a:pt x="84" y="12"/>
                    </a:lnTo>
                    <a:lnTo>
                      <a:pt x="98" y="8"/>
                    </a:lnTo>
                    <a:lnTo>
                      <a:pt x="112" y="4"/>
                    </a:lnTo>
                    <a:lnTo>
                      <a:pt x="126" y="2"/>
                    </a:lnTo>
                    <a:lnTo>
                      <a:pt x="140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4" y="10"/>
                    </a:lnTo>
                    <a:lnTo>
                      <a:pt x="208" y="14"/>
                    </a:lnTo>
                    <a:lnTo>
                      <a:pt x="220" y="22"/>
                    </a:lnTo>
                    <a:lnTo>
                      <a:pt x="232" y="30"/>
                    </a:lnTo>
                    <a:lnTo>
                      <a:pt x="242" y="38"/>
                    </a:lnTo>
                    <a:lnTo>
                      <a:pt x="252" y="48"/>
                    </a:lnTo>
                    <a:lnTo>
                      <a:pt x="262" y="60"/>
                    </a:lnTo>
                    <a:lnTo>
                      <a:pt x="270" y="72"/>
                    </a:lnTo>
                    <a:lnTo>
                      <a:pt x="270" y="72"/>
                    </a:lnTo>
                    <a:lnTo>
                      <a:pt x="276" y="86"/>
                    </a:lnTo>
                    <a:lnTo>
                      <a:pt x="282" y="100"/>
                    </a:lnTo>
                    <a:lnTo>
                      <a:pt x="284" y="112"/>
                    </a:lnTo>
                    <a:lnTo>
                      <a:pt x="288" y="126"/>
                    </a:lnTo>
                    <a:lnTo>
                      <a:pt x="288" y="140"/>
                    </a:lnTo>
                    <a:lnTo>
                      <a:pt x="288" y="154"/>
                    </a:lnTo>
                    <a:lnTo>
                      <a:pt x="286" y="168"/>
                    </a:lnTo>
                    <a:lnTo>
                      <a:pt x="284" y="182"/>
                    </a:lnTo>
                    <a:lnTo>
                      <a:pt x="280" y="196"/>
                    </a:lnTo>
                    <a:lnTo>
                      <a:pt x="274" y="208"/>
                    </a:lnTo>
                    <a:lnTo>
                      <a:pt x="268" y="220"/>
                    </a:lnTo>
                    <a:lnTo>
                      <a:pt x="260" y="232"/>
                    </a:lnTo>
                    <a:lnTo>
                      <a:pt x="250" y="242"/>
                    </a:lnTo>
                    <a:lnTo>
                      <a:pt x="240" y="252"/>
                    </a:lnTo>
                    <a:lnTo>
                      <a:pt x="228" y="262"/>
                    </a:lnTo>
                    <a:lnTo>
                      <a:pt x="216" y="270"/>
                    </a:lnTo>
                    <a:lnTo>
                      <a:pt x="216" y="270"/>
                    </a:lnTo>
                    <a:lnTo>
                      <a:pt x="202" y="276"/>
                    </a:lnTo>
                    <a:lnTo>
                      <a:pt x="190" y="282"/>
                    </a:lnTo>
                    <a:lnTo>
                      <a:pt x="176" y="286"/>
                    </a:lnTo>
                    <a:lnTo>
                      <a:pt x="162" y="288"/>
                    </a:lnTo>
                    <a:lnTo>
                      <a:pt x="148" y="290"/>
                    </a:lnTo>
                    <a:lnTo>
                      <a:pt x="134" y="288"/>
                    </a:lnTo>
                    <a:lnTo>
                      <a:pt x="120" y="288"/>
                    </a:lnTo>
                    <a:lnTo>
                      <a:pt x="106" y="284"/>
                    </a:lnTo>
                    <a:lnTo>
                      <a:pt x="94" y="280"/>
                    </a:lnTo>
                    <a:lnTo>
                      <a:pt x="80" y="274"/>
                    </a:lnTo>
                    <a:lnTo>
                      <a:pt x="68" y="268"/>
                    </a:lnTo>
                    <a:lnTo>
                      <a:pt x="56" y="260"/>
                    </a:lnTo>
                    <a:lnTo>
                      <a:pt x="46" y="250"/>
                    </a:lnTo>
                    <a:lnTo>
                      <a:pt x="36" y="240"/>
                    </a:lnTo>
                    <a:lnTo>
                      <a:pt x="26" y="230"/>
                    </a:lnTo>
                    <a:lnTo>
                      <a:pt x="18" y="216"/>
                    </a:lnTo>
                    <a:lnTo>
                      <a:pt x="18" y="216"/>
                    </a:lnTo>
                    <a:lnTo>
                      <a:pt x="12" y="204"/>
                    </a:lnTo>
                    <a:lnTo>
                      <a:pt x="6" y="190"/>
                    </a:lnTo>
                    <a:lnTo>
                      <a:pt x="2" y="176"/>
                    </a:lnTo>
                    <a:lnTo>
                      <a:pt x="0" y="162"/>
                    </a:lnTo>
                    <a:lnTo>
                      <a:pt x="0" y="148"/>
                    </a:lnTo>
                    <a:lnTo>
                      <a:pt x="0" y="134"/>
                    </a:lnTo>
                    <a:lnTo>
                      <a:pt x="2" y="120"/>
                    </a:lnTo>
                    <a:lnTo>
                      <a:pt x="4" y="108"/>
                    </a:lnTo>
                    <a:lnTo>
                      <a:pt x="8" y="94"/>
                    </a:lnTo>
                    <a:lnTo>
                      <a:pt x="14" y="82"/>
                    </a:lnTo>
                    <a:lnTo>
                      <a:pt x="20" y="68"/>
                    </a:lnTo>
                    <a:lnTo>
                      <a:pt x="28" y="58"/>
                    </a:lnTo>
                    <a:lnTo>
                      <a:pt x="38" y="46"/>
                    </a:lnTo>
                    <a:lnTo>
                      <a:pt x="48" y="36"/>
                    </a:lnTo>
                    <a:lnTo>
                      <a:pt x="60" y="28"/>
                    </a:lnTo>
                    <a:lnTo>
                      <a:pt x="72" y="20"/>
                    </a:lnTo>
                    <a:lnTo>
                      <a:pt x="72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0" name="Google Shape;1740;g2e37ced3bdd_2_0"/>
              <p:cNvSpPr/>
              <p:nvPr/>
            </p:nvSpPr>
            <p:spPr>
              <a:xfrm>
                <a:off x="8755532" y="2350939"/>
                <a:ext cx="319408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90" h="290" extrusionOk="0">
                    <a:moveTo>
                      <a:pt x="0" y="146"/>
                    </a:moveTo>
                    <a:lnTo>
                      <a:pt x="0" y="146"/>
                    </a:lnTo>
                    <a:lnTo>
                      <a:pt x="2" y="130"/>
                    </a:lnTo>
                    <a:lnTo>
                      <a:pt x="4" y="116"/>
                    </a:lnTo>
                    <a:lnTo>
                      <a:pt x="8" y="102"/>
                    </a:lnTo>
                    <a:lnTo>
                      <a:pt x="12" y="90"/>
                    </a:lnTo>
                    <a:lnTo>
                      <a:pt x="18" y="76"/>
                    </a:lnTo>
                    <a:lnTo>
                      <a:pt x="26" y="64"/>
                    </a:lnTo>
                    <a:lnTo>
                      <a:pt x="34" y="54"/>
                    </a:lnTo>
                    <a:lnTo>
                      <a:pt x="44" y="44"/>
                    </a:lnTo>
                    <a:lnTo>
                      <a:pt x="54" y="34"/>
                    </a:lnTo>
                    <a:lnTo>
                      <a:pt x="64" y="26"/>
                    </a:lnTo>
                    <a:lnTo>
                      <a:pt x="76" y="18"/>
                    </a:lnTo>
                    <a:lnTo>
                      <a:pt x="90" y="12"/>
                    </a:lnTo>
                    <a:lnTo>
                      <a:pt x="102" y="8"/>
                    </a:lnTo>
                    <a:lnTo>
                      <a:pt x="116" y="4"/>
                    </a:lnTo>
                    <a:lnTo>
                      <a:pt x="130" y="2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60" y="2"/>
                    </a:lnTo>
                    <a:lnTo>
                      <a:pt x="174" y="4"/>
                    </a:lnTo>
                    <a:lnTo>
                      <a:pt x="188" y="8"/>
                    </a:lnTo>
                    <a:lnTo>
                      <a:pt x="202" y="12"/>
                    </a:lnTo>
                    <a:lnTo>
                      <a:pt x="214" y="18"/>
                    </a:lnTo>
                    <a:lnTo>
                      <a:pt x="226" y="26"/>
                    </a:lnTo>
                    <a:lnTo>
                      <a:pt x="238" y="34"/>
                    </a:lnTo>
                    <a:lnTo>
                      <a:pt x="248" y="44"/>
                    </a:lnTo>
                    <a:lnTo>
                      <a:pt x="256" y="54"/>
                    </a:lnTo>
                    <a:lnTo>
                      <a:pt x="266" y="64"/>
                    </a:lnTo>
                    <a:lnTo>
                      <a:pt x="272" y="76"/>
                    </a:lnTo>
                    <a:lnTo>
                      <a:pt x="278" y="90"/>
                    </a:lnTo>
                    <a:lnTo>
                      <a:pt x="284" y="102"/>
                    </a:lnTo>
                    <a:lnTo>
                      <a:pt x="288" y="116"/>
                    </a:lnTo>
                    <a:lnTo>
                      <a:pt x="290" y="130"/>
                    </a:lnTo>
                    <a:lnTo>
                      <a:pt x="290" y="146"/>
                    </a:lnTo>
                    <a:lnTo>
                      <a:pt x="290" y="146"/>
                    </a:lnTo>
                    <a:lnTo>
                      <a:pt x="290" y="160"/>
                    </a:lnTo>
                    <a:lnTo>
                      <a:pt x="288" y="174"/>
                    </a:lnTo>
                    <a:lnTo>
                      <a:pt x="284" y="188"/>
                    </a:lnTo>
                    <a:lnTo>
                      <a:pt x="278" y="202"/>
                    </a:lnTo>
                    <a:lnTo>
                      <a:pt x="272" y="214"/>
                    </a:lnTo>
                    <a:lnTo>
                      <a:pt x="266" y="226"/>
                    </a:lnTo>
                    <a:lnTo>
                      <a:pt x="256" y="238"/>
                    </a:lnTo>
                    <a:lnTo>
                      <a:pt x="248" y="248"/>
                    </a:lnTo>
                    <a:lnTo>
                      <a:pt x="238" y="256"/>
                    </a:lnTo>
                    <a:lnTo>
                      <a:pt x="226" y="266"/>
                    </a:lnTo>
                    <a:lnTo>
                      <a:pt x="214" y="272"/>
                    </a:lnTo>
                    <a:lnTo>
                      <a:pt x="202" y="278"/>
                    </a:lnTo>
                    <a:lnTo>
                      <a:pt x="188" y="284"/>
                    </a:lnTo>
                    <a:lnTo>
                      <a:pt x="174" y="288"/>
                    </a:lnTo>
                    <a:lnTo>
                      <a:pt x="160" y="290"/>
                    </a:lnTo>
                    <a:lnTo>
                      <a:pt x="146" y="290"/>
                    </a:lnTo>
                    <a:lnTo>
                      <a:pt x="146" y="290"/>
                    </a:lnTo>
                    <a:lnTo>
                      <a:pt x="130" y="290"/>
                    </a:lnTo>
                    <a:lnTo>
                      <a:pt x="116" y="288"/>
                    </a:lnTo>
                    <a:lnTo>
                      <a:pt x="102" y="284"/>
                    </a:lnTo>
                    <a:lnTo>
                      <a:pt x="90" y="278"/>
                    </a:lnTo>
                    <a:lnTo>
                      <a:pt x="76" y="272"/>
                    </a:lnTo>
                    <a:lnTo>
                      <a:pt x="64" y="266"/>
                    </a:lnTo>
                    <a:lnTo>
                      <a:pt x="54" y="256"/>
                    </a:lnTo>
                    <a:lnTo>
                      <a:pt x="44" y="248"/>
                    </a:lnTo>
                    <a:lnTo>
                      <a:pt x="34" y="238"/>
                    </a:lnTo>
                    <a:lnTo>
                      <a:pt x="26" y="226"/>
                    </a:lnTo>
                    <a:lnTo>
                      <a:pt x="18" y="214"/>
                    </a:lnTo>
                    <a:lnTo>
                      <a:pt x="12" y="202"/>
                    </a:lnTo>
                    <a:lnTo>
                      <a:pt x="8" y="188"/>
                    </a:lnTo>
                    <a:lnTo>
                      <a:pt x="4" y="174"/>
                    </a:lnTo>
                    <a:lnTo>
                      <a:pt x="2" y="160"/>
                    </a:lnTo>
                    <a:lnTo>
                      <a:pt x="0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1" name="Google Shape;1741;g2e37ced3bdd_2_0"/>
              <p:cNvSpPr/>
              <p:nvPr/>
            </p:nvSpPr>
            <p:spPr>
              <a:xfrm>
                <a:off x="7828146" y="2826747"/>
                <a:ext cx="319408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90" h="290" extrusionOk="0">
                    <a:moveTo>
                      <a:pt x="74" y="270"/>
                    </a:moveTo>
                    <a:lnTo>
                      <a:pt x="74" y="270"/>
                    </a:lnTo>
                    <a:lnTo>
                      <a:pt x="60" y="262"/>
                    </a:lnTo>
                    <a:lnTo>
                      <a:pt x="50" y="252"/>
                    </a:lnTo>
                    <a:lnTo>
                      <a:pt x="40" y="242"/>
                    </a:lnTo>
                    <a:lnTo>
                      <a:pt x="30" y="232"/>
                    </a:lnTo>
                    <a:lnTo>
                      <a:pt x="22" y="220"/>
                    </a:lnTo>
                    <a:lnTo>
                      <a:pt x="16" y="208"/>
                    </a:lnTo>
                    <a:lnTo>
                      <a:pt x="10" y="196"/>
                    </a:lnTo>
                    <a:lnTo>
                      <a:pt x="6" y="182"/>
                    </a:lnTo>
                    <a:lnTo>
                      <a:pt x="2" y="168"/>
                    </a:lnTo>
                    <a:lnTo>
                      <a:pt x="2" y="154"/>
                    </a:lnTo>
                    <a:lnTo>
                      <a:pt x="0" y="140"/>
                    </a:lnTo>
                    <a:lnTo>
                      <a:pt x="2" y="126"/>
                    </a:lnTo>
                    <a:lnTo>
                      <a:pt x="4" y="112"/>
                    </a:lnTo>
                    <a:lnTo>
                      <a:pt x="8" y="100"/>
                    </a:lnTo>
                    <a:lnTo>
                      <a:pt x="14" y="8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8" y="60"/>
                    </a:lnTo>
                    <a:lnTo>
                      <a:pt x="38" y="48"/>
                    </a:lnTo>
                    <a:lnTo>
                      <a:pt x="48" y="38"/>
                    </a:lnTo>
                    <a:lnTo>
                      <a:pt x="58" y="30"/>
                    </a:lnTo>
                    <a:lnTo>
                      <a:pt x="70" y="22"/>
                    </a:lnTo>
                    <a:lnTo>
                      <a:pt x="82" y="14"/>
                    </a:lnTo>
                    <a:lnTo>
                      <a:pt x="94" y="10"/>
                    </a:lnTo>
                    <a:lnTo>
                      <a:pt x="108" y="4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0" y="0"/>
                    </a:lnTo>
                    <a:lnTo>
                      <a:pt x="164" y="2"/>
                    </a:lnTo>
                    <a:lnTo>
                      <a:pt x="178" y="4"/>
                    </a:lnTo>
                    <a:lnTo>
                      <a:pt x="192" y="8"/>
                    </a:lnTo>
                    <a:lnTo>
                      <a:pt x="204" y="12"/>
                    </a:lnTo>
                    <a:lnTo>
                      <a:pt x="218" y="20"/>
                    </a:lnTo>
                    <a:lnTo>
                      <a:pt x="218" y="20"/>
                    </a:lnTo>
                    <a:lnTo>
                      <a:pt x="230" y="28"/>
                    </a:lnTo>
                    <a:lnTo>
                      <a:pt x="242" y="36"/>
                    </a:lnTo>
                    <a:lnTo>
                      <a:pt x="252" y="46"/>
                    </a:lnTo>
                    <a:lnTo>
                      <a:pt x="260" y="58"/>
                    </a:lnTo>
                    <a:lnTo>
                      <a:pt x="268" y="68"/>
                    </a:lnTo>
                    <a:lnTo>
                      <a:pt x="276" y="82"/>
                    </a:lnTo>
                    <a:lnTo>
                      <a:pt x="282" y="94"/>
                    </a:lnTo>
                    <a:lnTo>
                      <a:pt x="286" y="108"/>
                    </a:lnTo>
                    <a:lnTo>
                      <a:pt x="288" y="120"/>
                    </a:lnTo>
                    <a:lnTo>
                      <a:pt x="290" y="134"/>
                    </a:lnTo>
                    <a:lnTo>
                      <a:pt x="290" y="148"/>
                    </a:lnTo>
                    <a:lnTo>
                      <a:pt x="290" y="162"/>
                    </a:lnTo>
                    <a:lnTo>
                      <a:pt x="286" y="176"/>
                    </a:lnTo>
                    <a:lnTo>
                      <a:pt x="282" y="190"/>
                    </a:lnTo>
                    <a:lnTo>
                      <a:pt x="278" y="204"/>
                    </a:lnTo>
                    <a:lnTo>
                      <a:pt x="270" y="218"/>
                    </a:lnTo>
                    <a:lnTo>
                      <a:pt x="270" y="218"/>
                    </a:lnTo>
                    <a:lnTo>
                      <a:pt x="262" y="230"/>
                    </a:lnTo>
                    <a:lnTo>
                      <a:pt x="254" y="240"/>
                    </a:lnTo>
                    <a:lnTo>
                      <a:pt x="244" y="252"/>
                    </a:lnTo>
                    <a:lnTo>
                      <a:pt x="232" y="260"/>
                    </a:lnTo>
                    <a:lnTo>
                      <a:pt x="222" y="268"/>
                    </a:lnTo>
                    <a:lnTo>
                      <a:pt x="210" y="274"/>
                    </a:lnTo>
                    <a:lnTo>
                      <a:pt x="196" y="280"/>
                    </a:lnTo>
                    <a:lnTo>
                      <a:pt x="184" y="284"/>
                    </a:lnTo>
                    <a:lnTo>
                      <a:pt x="170" y="288"/>
                    </a:lnTo>
                    <a:lnTo>
                      <a:pt x="156" y="290"/>
                    </a:lnTo>
                    <a:lnTo>
                      <a:pt x="142" y="290"/>
                    </a:lnTo>
                    <a:lnTo>
                      <a:pt x="128" y="288"/>
                    </a:lnTo>
                    <a:lnTo>
                      <a:pt x="114" y="286"/>
                    </a:lnTo>
                    <a:lnTo>
                      <a:pt x="100" y="282"/>
                    </a:lnTo>
                    <a:lnTo>
                      <a:pt x="86" y="276"/>
                    </a:lnTo>
                    <a:lnTo>
                      <a:pt x="74" y="270"/>
                    </a:lnTo>
                    <a:lnTo>
                      <a:pt x="74" y="2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2" name="Google Shape;1742;g2e37ced3bdd_2_0"/>
              <p:cNvSpPr/>
              <p:nvPr/>
            </p:nvSpPr>
            <p:spPr>
              <a:xfrm>
                <a:off x="7777481" y="3866477"/>
                <a:ext cx="317206" cy="319408"/>
              </a:xfrm>
              <a:custGeom>
                <a:avLst/>
                <a:gdLst/>
                <a:ahLst/>
                <a:cxnLst/>
                <a:rect l="l" t="t" r="r" b="b"/>
                <a:pathLst>
                  <a:path w="288" h="290" extrusionOk="0">
                    <a:moveTo>
                      <a:pt x="216" y="270"/>
                    </a:moveTo>
                    <a:lnTo>
                      <a:pt x="216" y="270"/>
                    </a:lnTo>
                    <a:lnTo>
                      <a:pt x="204" y="278"/>
                    </a:lnTo>
                    <a:lnTo>
                      <a:pt x="190" y="282"/>
                    </a:lnTo>
                    <a:lnTo>
                      <a:pt x="176" y="286"/>
                    </a:lnTo>
                    <a:lnTo>
                      <a:pt x="162" y="288"/>
                    </a:lnTo>
                    <a:lnTo>
                      <a:pt x="148" y="290"/>
                    </a:lnTo>
                    <a:lnTo>
                      <a:pt x="134" y="290"/>
                    </a:lnTo>
                    <a:lnTo>
                      <a:pt x="120" y="288"/>
                    </a:lnTo>
                    <a:lnTo>
                      <a:pt x="106" y="286"/>
                    </a:lnTo>
                    <a:lnTo>
                      <a:pt x="94" y="280"/>
                    </a:lnTo>
                    <a:lnTo>
                      <a:pt x="80" y="276"/>
                    </a:lnTo>
                    <a:lnTo>
                      <a:pt x="68" y="268"/>
                    </a:lnTo>
                    <a:lnTo>
                      <a:pt x="56" y="260"/>
                    </a:lnTo>
                    <a:lnTo>
                      <a:pt x="46" y="252"/>
                    </a:lnTo>
                    <a:lnTo>
                      <a:pt x="36" y="242"/>
                    </a:lnTo>
                    <a:lnTo>
                      <a:pt x="26" y="230"/>
                    </a:lnTo>
                    <a:lnTo>
                      <a:pt x="18" y="218"/>
                    </a:lnTo>
                    <a:lnTo>
                      <a:pt x="18" y="218"/>
                    </a:lnTo>
                    <a:lnTo>
                      <a:pt x="12" y="204"/>
                    </a:lnTo>
                    <a:lnTo>
                      <a:pt x="6" y="190"/>
                    </a:lnTo>
                    <a:lnTo>
                      <a:pt x="4" y="178"/>
                    </a:lnTo>
                    <a:lnTo>
                      <a:pt x="0" y="164"/>
                    </a:lnTo>
                    <a:lnTo>
                      <a:pt x="0" y="150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8" y="94"/>
                    </a:lnTo>
                    <a:lnTo>
                      <a:pt x="14" y="82"/>
                    </a:lnTo>
                    <a:lnTo>
                      <a:pt x="20" y="70"/>
                    </a:lnTo>
                    <a:lnTo>
                      <a:pt x="28" y="58"/>
                    </a:lnTo>
                    <a:lnTo>
                      <a:pt x="38" y="48"/>
                    </a:lnTo>
                    <a:lnTo>
                      <a:pt x="48" y="38"/>
                    </a:lnTo>
                    <a:lnTo>
                      <a:pt x="60" y="28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86" y="14"/>
                    </a:lnTo>
                    <a:lnTo>
                      <a:pt x="98" y="8"/>
                    </a:lnTo>
                    <a:lnTo>
                      <a:pt x="112" y="4"/>
                    </a:lnTo>
                    <a:lnTo>
                      <a:pt x="126" y="2"/>
                    </a:lnTo>
                    <a:lnTo>
                      <a:pt x="140" y="0"/>
                    </a:lnTo>
                    <a:lnTo>
                      <a:pt x="154" y="2"/>
                    </a:lnTo>
                    <a:lnTo>
                      <a:pt x="168" y="2"/>
                    </a:lnTo>
                    <a:lnTo>
                      <a:pt x="182" y="6"/>
                    </a:lnTo>
                    <a:lnTo>
                      <a:pt x="194" y="10"/>
                    </a:lnTo>
                    <a:lnTo>
                      <a:pt x="208" y="16"/>
                    </a:lnTo>
                    <a:lnTo>
                      <a:pt x="220" y="22"/>
                    </a:lnTo>
                    <a:lnTo>
                      <a:pt x="232" y="30"/>
                    </a:lnTo>
                    <a:lnTo>
                      <a:pt x="242" y="40"/>
                    </a:lnTo>
                    <a:lnTo>
                      <a:pt x="252" y="50"/>
                    </a:lnTo>
                    <a:lnTo>
                      <a:pt x="262" y="60"/>
                    </a:lnTo>
                    <a:lnTo>
                      <a:pt x="270" y="74"/>
                    </a:lnTo>
                    <a:lnTo>
                      <a:pt x="270" y="74"/>
                    </a:lnTo>
                    <a:lnTo>
                      <a:pt x="276" y="86"/>
                    </a:lnTo>
                    <a:lnTo>
                      <a:pt x="282" y="100"/>
                    </a:lnTo>
                    <a:lnTo>
                      <a:pt x="286" y="114"/>
                    </a:lnTo>
                    <a:lnTo>
                      <a:pt x="288" y="128"/>
                    </a:lnTo>
                    <a:lnTo>
                      <a:pt x="288" y="142"/>
                    </a:lnTo>
                    <a:lnTo>
                      <a:pt x="288" y="156"/>
                    </a:lnTo>
                    <a:lnTo>
                      <a:pt x="286" y="170"/>
                    </a:lnTo>
                    <a:lnTo>
                      <a:pt x="284" y="182"/>
                    </a:lnTo>
                    <a:lnTo>
                      <a:pt x="280" y="196"/>
                    </a:lnTo>
                    <a:lnTo>
                      <a:pt x="274" y="208"/>
                    </a:lnTo>
                    <a:lnTo>
                      <a:pt x="268" y="222"/>
                    </a:lnTo>
                    <a:lnTo>
                      <a:pt x="260" y="232"/>
                    </a:lnTo>
                    <a:lnTo>
                      <a:pt x="250" y="244"/>
                    </a:lnTo>
                    <a:lnTo>
                      <a:pt x="240" y="254"/>
                    </a:lnTo>
                    <a:lnTo>
                      <a:pt x="230" y="262"/>
                    </a:lnTo>
                    <a:lnTo>
                      <a:pt x="216" y="270"/>
                    </a:lnTo>
                    <a:lnTo>
                      <a:pt x="216" y="2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3" name="Google Shape;1743;g2e37ced3bdd_2_0"/>
              <p:cNvSpPr/>
              <p:nvPr/>
            </p:nvSpPr>
            <p:spPr>
              <a:xfrm>
                <a:off x="8866746" y="2400033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0301E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4" name="Google Shape;1744;g2e37ced3bdd_2_0"/>
              <p:cNvSpPr/>
              <p:nvPr/>
            </p:nvSpPr>
            <p:spPr>
              <a:xfrm>
                <a:off x="9742358" y="2987429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B536A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5" name="Google Shape;1745;g2e37ced3bdd_2_0"/>
              <p:cNvSpPr/>
              <p:nvPr/>
            </p:nvSpPr>
            <p:spPr>
              <a:xfrm>
                <a:off x="9682817" y="4005905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B8C00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3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6" name="Google Shape;1746;g2e37ced3bdd_2_0"/>
              <p:cNvSpPr/>
              <p:nvPr/>
            </p:nvSpPr>
            <p:spPr>
              <a:xfrm>
                <a:off x="8763212" y="4480764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64646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7" name="Google Shape;1747;g2e37ced3bdd_2_0"/>
              <p:cNvSpPr/>
              <p:nvPr/>
            </p:nvSpPr>
            <p:spPr>
              <a:xfrm>
                <a:off x="7896135" y="3935946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7D7D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8" name="Google Shape;1748;g2e37ced3bdd_2_0"/>
              <p:cNvSpPr/>
              <p:nvPr/>
            </p:nvSpPr>
            <p:spPr>
              <a:xfrm>
                <a:off x="7947143" y="2885133"/>
                <a:ext cx="128100" cy="276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04A02"/>
                  </a:buClr>
                  <a:buSzPts val="1800"/>
                  <a:buFont typeface="Arial"/>
                  <a:buNone/>
                </a:pPr>
                <a:r>
                  <a:rPr lang="en-GB" sz="1800" b="1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</a:t>
                </a:r>
                <a:endParaRPr sz="1800" b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9" name="Google Shape;1749;g2e37ced3bdd_2_0"/>
              <p:cNvSpPr txBox="1"/>
              <p:nvPr/>
            </p:nvSpPr>
            <p:spPr>
              <a:xfrm>
                <a:off x="8356409" y="3432700"/>
                <a:ext cx="1172533" cy="3513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2400" b="1">
                    <a:solidFill>
                      <a:srgbClr val="464646"/>
                    </a:solidFill>
                    <a:cs typeface="Arial"/>
                  </a:rPr>
                  <a:t>Leadership</a:t>
                </a:r>
              </a:p>
            </p:txBody>
          </p:sp>
        </p:grpSp>
        <p:sp>
          <p:nvSpPr>
            <p:cNvPr id="1750" name="Google Shape;1750;g2e37ced3bdd_2_0"/>
            <p:cNvSpPr txBox="1"/>
            <p:nvPr/>
          </p:nvSpPr>
          <p:spPr>
            <a:xfrm rot="21569086">
              <a:off x="-203449" y="5231932"/>
              <a:ext cx="1740101" cy="64300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GB" sz="1400" b="1">
                  <a:solidFill>
                    <a:srgbClr val="FFFFFF"/>
                  </a:solidFill>
                </a:rPr>
                <a:t>Team collaboration &amp;  dynamics, including robust communication</a:t>
              </a:r>
              <a:endParaRPr lang="en-US">
                <a:cs typeface="Arial"/>
              </a:endParaRPr>
            </a:p>
          </p:txBody>
        </p:sp>
        <p:sp>
          <p:nvSpPr>
            <p:cNvPr id="1751" name="Google Shape;1751;g2e37ced3bdd_2_0"/>
            <p:cNvSpPr txBox="1"/>
            <p:nvPr/>
          </p:nvSpPr>
          <p:spPr>
            <a:xfrm rot="21568943">
              <a:off x="104803" y="2124149"/>
              <a:ext cx="2025683" cy="598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>
                  <a:solidFill>
                    <a:srgbClr val="FFFFFF"/>
                  </a:solidFill>
                </a:rPr>
                <a:t>Clear vision &amp; objectives</a:t>
              </a:r>
              <a:endParaRPr lang="en-US">
                <a:cs typeface="Arial"/>
              </a:endParaRPr>
            </a:p>
          </p:txBody>
        </p:sp>
        <p:sp>
          <p:nvSpPr>
            <p:cNvPr id="1752" name="Google Shape;1752;g2e37ced3bdd_2_0"/>
            <p:cNvSpPr txBox="1"/>
            <p:nvPr/>
          </p:nvSpPr>
          <p:spPr>
            <a:xfrm rot="21568943">
              <a:off x="1003135" y="3985822"/>
              <a:ext cx="2025683" cy="598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GB" sz="1400" b="1">
                  <a:solidFill>
                    <a:srgbClr val="FFFFFF"/>
                  </a:solidFill>
                </a:rPr>
                <a:t>Stakeholder Engagement</a:t>
              </a:r>
              <a:endParaRPr lang="en-US"/>
            </a:p>
          </p:txBody>
        </p:sp>
        <p:sp>
          <p:nvSpPr>
            <p:cNvPr id="1753" name="Google Shape;1753;g2e37ced3bdd_2_0"/>
            <p:cNvSpPr txBox="1"/>
            <p:nvPr/>
          </p:nvSpPr>
          <p:spPr>
            <a:xfrm rot="-31057">
              <a:off x="-2712241" y="5610675"/>
              <a:ext cx="2025683" cy="598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GB" sz="1400" b="1">
                  <a:solidFill>
                    <a:srgbClr val="FFFFFF"/>
                  </a:solidFill>
                </a:rPr>
                <a:t>Leveraging </a:t>
              </a:r>
              <a:endParaRPr lang="en-US" sz="1400" b="1">
                <a:solidFill>
                  <a:srgbClr val="FFFFFF"/>
                </a:solidFill>
                <a:cs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>
                  <a:solidFill>
                    <a:srgbClr val="FFFFFF"/>
                  </a:solidFill>
                </a:rPr>
                <a:t>expertise</a:t>
              </a:r>
              <a:endParaRPr>
                <a:cs typeface="Arial"/>
              </a:endParaRPr>
            </a:p>
          </p:txBody>
        </p:sp>
        <p:sp>
          <p:nvSpPr>
            <p:cNvPr id="1754" name="Google Shape;1754;g2e37ced3bdd_2_0"/>
            <p:cNvSpPr txBox="1"/>
            <p:nvPr/>
          </p:nvSpPr>
          <p:spPr>
            <a:xfrm rot="-31090">
              <a:off x="-3731983" y="3662716"/>
              <a:ext cx="1625466" cy="598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>
                  <a:solidFill>
                    <a:srgbClr val="FFFFFF"/>
                  </a:solidFill>
                </a:rPr>
                <a:t>Trust focused delivery</a:t>
              </a:r>
              <a:endParaRPr lang="en-US">
                <a:cs typeface="Arial"/>
              </a:endParaRPr>
            </a:p>
          </p:txBody>
        </p:sp>
        <p:sp>
          <p:nvSpPr>
            <p:cNvPr id="1755" name="Google Shape;1755;g2e37ced3bdd_2_0"/>
            <p:cNvSpPr txBox="1"/>
            <p:nvPr/>
          </p:nvSpPr>
          <p:spPr>
            <a:xfrm rot="-31090">
              <a:off x="-2555133" y="1952441"/>
              <a:ext cx="1625466" cy="598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>
                  <a:solidFill>
                    <a:srgbClr val="FFFFFF"/>
                  </a:solidFill>
                </a:rPr>
                <a:t>Effective planning &amp; control</a:t>
              </a:r>
              <a:endParaRPr sz="1400"/>
            </a:p>
          </p:txBody>
        </p:sp>
      </p:grpSp>
      <p:sp>
        <p:nvSpPr>
          <p:cNvPr id="1756" name="Google Shape;1756;g2e37ced3bdd_2_0"/>
          <p:cNvSpPr txBox="1">
            <a:spLocks noGrp="1"/>
          </p:cNvSpPr>
          <p:nvPr>
            <p:ph type="title"/>
          </p:nvPr>
        </p:nvSpPr>
        <p:spPr>
          <a:xfrm>
            <a:off x="618018" y="2771730"/>
            <a:ext cx="3896506" cy="1302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None/>
            </a:pPr>
            <a:r>
              <a:rPr lang="en-GB"/>
              <a:t>How we are working together as </a:t>
            </a:r>
            <a:r>
              <a:rPr lang="en-GB">
                <a:solidFill>
                  <a:schemeClr val="dk1"/>
                </a:solidFill>
                <a:highlight>
                  <a:schemeClr val="accent1"/>
                </a:highlight>
              </a:rPr>
              <a:t>one</a:t>
            </a:r>
            <a:r>
              <a:rPr lang="en-GB"/>
              <a:t> team...</a:t>
            </a:r>
            <a:endParaRPr lang="en-US" sz="4000"/>
          </a:p>
        </p:txBody>
      </p:sp>
      <p:grpSp>
        <p:nvGrpSpPr>
          <p:cNvPr id="1757" name="Google Shape;1757;g2e37ced3bdd_2_0"/>
          <p:cNvGrpSpPr/>
          <p:nvPr/>
        </p:nvGrpSpPr>
        <p:grpSpPr>
          <a:xfrm>
            <a:off x="9326208" y="4346756"/>
            <a:ext cx="545118" cy="542525"/>
            <a:chOff x="3967211" y="3116105"/>
            <a:chExt cx="545118" cy="542525"/>
          </a:xfrm>
        </p:grpSpPr>
        <p:sp>
          <p:nvSpPr>
            <p:cNvPr id="1758" name="Google Shape;1758;g2e37ced3bdd_2_0"/>
            <p:cNvSpPr/>
            <p:nvPr/>
          </p:nvSpPr>
          <p:spPr>
            <a:xfrm>
              <a:off x="4252323" y="3425608"/>
              <a:ext cx="98373" cy="156660"/>
            </a:xfrm>
            <a:custGeom>
              <a:avLst/>
              <a:gdLst/>
              <a:ahLst/>
              <a:cxnLst/>
              <a:rect l="l" t="t" r="r" b="b"/>
              <a:pathLst>
                <a:path w="98373" h="156660" extrusionOk="0">
                  <a:moveTo>
                    <a:pt x="83644" y="156661"/>
                  </a:moveTo>
                  <a:cubicBezTo>
                    <a:pt x="79013" y="156604"/>
                    <a:pt x="74713" y="154253"/>
                    <a:pt x="72171" y="150388"/>
                  </a:cubicBezTo>
                  <a:lnTo>
                    <a:pt x="4971" y="45936"/>
                  </a:lnTo>
                  <a:cubicBezTo>
                    <a:pt x="584" y="38955"/>
                    <a:pt x="-978" y="30570"/>
                    <a:pt x="600" y="22482"/>
                  </a:cubicBezTo>
                  <a:cubicBezTo>
                    <a:pt x="2129" y="14216"/>
                    <a:pt x="7091" y="6983"/>
                    <a:pt x="14259" y="2573"/>
                  </a:cubicBezTo>
                  <a:cubicBezTo>
                    <a:pt x="20379" y="-1829"/>
                    <a:pt x="28915" y="-444"/>
                    <a:pt x="33324" y="5667"/>
                  </a:cubicBezTo>
                  <a:cubicBezTo>
                    <a:pt x="37734" y="11777"/>
                    <a:pt x="36346" y="20299"/>
                    <a:pt x="30226" y="24701"/>
                  </a:cubicBezTo>
                  <a:cubicBezTo>
                    <a:pt x="29834" y="24982"/>
                    <a:pt x="29429" y="25243"/>
                    <a:pt x="29010" y="25481"/>
                  </a:cubicBezTo>
                  <a:cubicBezTo>
                    <a:pt x="27825" y="27107"/>
                    <a:pt x="27825" y="29310"/>
                    <a:pt x="29010" y="30936"/>
                  </a:cubicBezTo>
                  <a:lnTo>
                    <a:pt x="96209" y="135661"/>
                  </a:lnTo>
                  <a:cubicBezTo>
                    <a:pt x="100283" y="142000"/>
                    <a:pt x="98438" y="150435"/>
                    <a:pt x="92089" y="154502"/>
                  </a:cubicBezTo>
                  <a:cubicBezTo>
                    <a:pt x="89895" y="155907"/>
                    <a:pt x="87344" y="156656"/>
                    <a:pt x="84736" y="15666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9" name="Google Shape;1759;g2e37ced3bdd_2_0"/>
            <p:cNvSpPr/>
            <p:nvPr/>
          </p:nvSpPr>
          <p:spPr>
            <a:xfrm>
              <a:off x="4261060" y="3423425"/>
              <a:ext cx="101925" cy="114665"/>
            </a:xfrm>
            <a:custGeom>
              <a:avLst/>
              <a:gdLst/>
              <a:ahLst/>
              <a:cxnLst/>
              <a:rect l="l" t="t" r="r" b="b"/>
              <a:pathLst>
                <a:path w="101925" h="114665" extrusionOk="0">
                  <a:moveTo>
                    <a:pt x="88291" y="114663"/>
                  </a:moveTo>
                  <a:cubicBezTo>
                    <a:pt x="83621" y="114762"/>
                    <a:pt x="79250" y="112372"/>
                    <a:pt x="76818" y="108390"/>
                  </a:cubicBezTo>
                  <a:lnTo>
                    <a:pt x="25736" y="29028"/>
                  </a:lnTo>
                  <a:cubicBezTo>
                    <a:pt x="25024" y="28148"/>
                    <a:pt x="24077" y="27486"/>
                    <a:pt x="23004" y="27119"/>
                  </a:cubicBezTo>
                  <a:cubicBezTo>
                    <a:pt x="16287" y="31236"/>
                    <a:pt x="7536" y="29583"/>
                    <a:pt x="2789" y="23301"/>
                  </a:cubicBezTo>
                  <a:cubicBezTo>
                    <a:pt x="-1675" y="17609"/>
                    <a:pt x="-673" y="9381"/>
                    <a:pt x="5029" y="4924"/>
                  </a:cubicBezTo>
                  <a:cubicBezTo>
                    <a:pt x="5101" y="4867"/>
                    <a:pt x="5174" y="4811"/>
                    <a:pt x="5248" y="4756"/>
                  </a:cubicBezTo>
                  <a:cubicBezTo>
                    <a:pt x="19933" y="-4289"/>
                    <a:pt x="39159" y="-64"/>
                    <a:pt x="48682" y="14301"/>
                  </a:cubicBezTo>
                  <a:lnTo>
                    <a:pt x="99764" y="93663"/>
                  </a:lnTo>
                  <a:cubicBezTo>
                    <a:pt x="103827" y="99991"/>
                    <a:pt x="101994" y="108408"/>
                    <a:pt x="95667" y="112481"/>
                  </a:cubicBezTo>
                  <a:cubicBezTo>
                    <a:pt x="93435" y="113824"/>
                    <a:pt x="90896" y="114575"/>
                    <a:pt x="88291" y="11466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0" name="Google Shape;1760;g2e37ced3bdd_2_0"/>
            <p:cNvSpPr/>
            <p:nvPr/>
          </p:nvSpPr>
          <p:spPr>
            <a:xfrm>
              <a:off x="4285914" y="3401801"/>
              <a:ext cx="106847" cy="118152"/>
            </a:xfrm>
            <a:custGeom>
              <a:avLst/>
              <a:gdLst/>
              <a:ahLst/>
              <a:cxnLst/>
              <a:rect l="l" t="t" r="r" b="b"/>
              <a:pathLst>
                <a:path w="106847" h="118152" extrusionOk="0">
                  <a:moveTo>
                    <a:pt x="93214" y="118015"/>
                  </a:moveTo>
                  <a:cubicBezTo>
                    <a:pt x="88543" y="118114"/>
                    <a:pt x="84173" y="115724"/>
                    <a:pt x="81740" y="111742"/>
                  </a:cubicBezTo>
                  <a:lnTo>
                    <a:pt x="27107" y="27744"/>
                  </a:lnTo>
                  <a:cubicBezTo>
                    <a:pt x="25551" y="26355"/>
                    <a:pt x="23198" y="26355"/>
                    <a:pt x="21643" y="27744"/>
                  </a:cubicBezTo>
                  <a:cubicBezTo>
                    <a:pt x="15523" y="32146"/>
                    <a:pt x="6986" y="30761"/>
                    <a:pt x="2577" y="24650"/>
                  </a:cubicBezTo>
                  <a:cubicBezTo>
                    <a:pt x="-1832" y="18540"/>
                    <a:pt x="-445" y="10018"/>
                    <a:pt x="5676" y="5616"/>
                  </a:cubicBezTo>
                  <a:cubicBezTo>
                    <a:pt x="6067" y="5335"/>
                    <a:pt x="6473" y="5074"/>
                    <a:pt x="6892" y="4835"/>
                  </a:cubicBezTo>
                  <a:cubicBezTo>
                    <a:pt x="21466" y="-4337"/>
                    <a:pt x="40722" y="-79"/>
                    <a:pt x="50053" y="14381"/>
                  </a:cubicBezTo>
                  <a:lnTo>
                    <a:pt x="104687" y="98379"/>
                  </a:lnTo>
                  <a:cubicBezTo>
                    <a:pt x="108749" y="104707"/>
                    <a:pt x="106917" y="113123"/>
                    <a:pt x="100590" y="117197"/>
                  </a:cubicBezTo>
                  <a:cubicBezTo>
                    <a:pt x="98236" y="118070"/>
                    <a:pt x="95702" y="118351"/>
                    <a:pt x="93214" y="11801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1" name="Google Shape;1761;g2e37ced3bdd_2_0"/>
            <p:cNvSpPr/>
            <p:nvPr/>
          </p:nvSpPr>
          <p:spPr>
            <a:xfrm>
              <a:off x="4278410" y="3403116"/>
              <a:ext cx="85776" cy="135587"/>
            </a:xfrm>
            <a:custGeom>
              <a:avLst/>
              <a:gdLst/>
              <a:ahLst/>
              <a:cxnLst/>
              <a:rect l="l" t="t" r="r" b="b"/>
              <a:pathLst>
                <a:path w="85776" h="135587" extrusionOk="0">
                  <a:moveTo>
                    <a:pt x="71215" y="135518"/>
                  </a:moveTo>
                  <a:cubicBezTo>
                    <a:pt x="66584" y="135461"/>
                    <a:pt x="62284" y="133110"/>
                    <a:pt x="59742" y="129245"/>
                  </a:cubicBezTo>
                  <a:lnTo>
                    <a:pt x="5108" y="45247"/>
                  </a:lnTo>
                  <a:cubicBezTo>
                    <a:pt x="-4327" y="30891"/>
                    <a:pt x="-319" y="11617"/>
                    <a:pt x="14061" y="2197"/>
                  </a:cubicBezTo>
                  <a:cubicBezTo>
                    <a:pt x="14082" y="2184"/>
                    <a:pt x="14102" y="2170"/>
                    <a:pt x="14123" y="2157"/>
                  </a:cubicBezTo>
                  <a:cubicBezTo>
                    <a:pt x="20461" y="-1898"/>
                    <a:pt x="28891" y="-69"/>
                    <a:pt x="32971" y="6248"/>
                  </a:cubicBezTo>
                  <a:cubicBezTo>
                    <a:pt x="37087" y="12378"/>
                    <a:pt x="35446" y="20679"/>
                    <a:pt x="29305" y="24789"/>
                  </a:cubicBezTo>
                  <a:cubicBezTo>
                    <a:pt x="29163" y="24884"/>
                    <a:pt x="29019" y="24976"/>
                    <a:pt x="28874" y="25066"/>
                  </a:cubicBezTo>
                  <a:cubicBezTo>
                    <a:pt x="27365" y="26542"/>
                    <a:pt x="27340" y="28959"/>
                    <a:pt x="28819" y="30465"/>
                  </a:cubicBezTo>
                  <a:cubicBezTo>
                    <a:pt x="28837" y="30484"/>
                    <a:pt x="28856" y="30502"/>
                    <a:pt x="28874" y="30520"/>
                  </a:cubicBezTo>
                  <a:lnTo>
                    <a:pt x="83508" y="114518"/>
                  </a:lnTo>
                  <a:cubicBezTo>
                    <a:pt x="87624" y="120649"/>
                    <a:pt x="85983" y="128950"/>
                    <a:pt x="79842" y="133059"/>
                  </a:cubicBezTo>
                  <a:cubicBezTo>
                    <a:pt x="79700" y="133154"/>
                    <a:pt x="79556" y="133247"/>
                    <a:pt x="79411" y="133336"/>
                  </a:cubicBezTo>
                  <a:cubicBezTo>
                    <a:pt x="77046" y="135057"/>
                    <a:pt x="74124" y="135835"/>
                    <a:pt x="71215" y="13551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2" name="Google Shape;1762;g2e37ced3bdd_2_0"/>
            <p:cNvSpPr/>
            <p:nvPr/>
          </p:nvSpPr>
          <p:spPr>
            <a:xfrm>
              <a:off x="4311998" y="3388736"/>
              <a:ext cx="112012" cy="135725"/>
            </a:xfrm>
            <a:custGeom>
              <a:avLst/>
              <a:gdLst/>
              <a:ahLst/>
              <a:cxnLst/>
              <a:rect l="l" t="t" r="r" b="b"/>
              <a:pathLst>
                <a:path w="112012" h="135725" extrusionOk="0">
                  <a:moveTo>
                    <a:pt x="69041" y="135716"/>
                  </a:moveTo>
                  <a:cubicBezTo>
                    <a:pt x="64435" y="135567"/>
                    <a:pt x="60175" y="133238"/>
                    <a:pt x="57568" y="129443"/>
                  </a:cubicBezTo>
                  <a:lnTo>
                    <a:pt x="6485" y="50081"/>
                  </a:lnTo>
                  <a:cubicBezTo>
                    <a:pt x="-4019" y="36486"/>
                    <a:pt x="-1496" y="16962"/>
                    <a:pt x="12122" y="6475"/>
                  </a:cubicBezTo>
                  <a:cubicBezTo>
                    <a:pt x="25740" y="-4013"/>
                    <a:pt x="45295" y="-1493"/>
                    <a:pt x="55800" y="12102"/>
                  </a:cubicBezTo>
                  <a:cubicBezTo>
                    <a:pt x="56878" y="13497"/>
                    <a:pt x="57835" y="14980"/>
                    <a:pt x="58660" y="16536"/>
                  </a:cubicBezTo>
                  <a:lnTo>
                    <a:pt x="109744" y="95626"/>
                  </a:lnTo>
                  <a:cubicBezTo>
                    <a:pt x="113860" y="101756"/>
                    <a:pt x="112219" y="110057"/>
                    <a:pt x="106078" y="114167"/>
                  </a:cubicBezTo>
                  <a:cubicBezTo>
                    <a:pt x="105936" y="114262"/>
                    <a:pt x="105792" y="114354"/>
                    <a:pt x="105647" y="114444"/>
                  </a:cubicBezTo>
                  <a:cubicBezTo>
                    <a:pt x="99721" y="118599"/>
                    <a:pt x="91543" y="117173"/>
                    <a:pt x="87380" y="111257"/>
                  </a:cubicBezTo>
                  <a:cubicBezTo>
                    <a:pt x="87174" y="110964"/>
                    <a:pt x="86979" y="110662"/>
                    <a:pt x="86798" y="110353"/>
                  </a:cubicBezTo>
                  <a:lnTo>
                    <a:pt x="35715" y="31263"/>
                  </a:lnTo>
                  <a:cubicBezTo>
                    <a:pt x="34545" y="29434"/>
                    <a:pt x="32146" y="28835"/>
                    <a:pt x="30251" y="29900"/>
                  </a:cubicBezTo>
                  <a:cubicBezTo>
                    <a:pt x="28860" y="31453"/>
                    <a:pt x="28860" y="33801"/>
                    <a:pt x="30251" y="35354"/>
                  </a:cubicBezTo>
                  <a:lnTo>
                    <a:pt x="81334" y="114444"/>
                  </a:lnTo>
                  <a:cubicBezTo>
                    <a:pt x="85423" y="120856"/>
                    <a:pt x="83598" y="129358"/>
                    <a:pt x="77237" y="133534"/>
                  </a:cubicBezTo>
                  <a:cubicBezTo>
                    <a:pt x="74784" y="135062"/>
                    <a:pt x="71930" y="135821"/>
                    <a:pt x="69041" y="13571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3" name="Google Shape;1763;g2e37ced3bdd_2_0"/>
            <p:cNvSpPr/>
            <p:nvPr/>
          </p:nvSpPr>
          <p:spPr>
            <a:xfrm>
              <a:off x="4299929" y="3394710"/>
              <a:ext cx="212400" cy="263920"/>
            </a:xfrm>
            <a:custGeom>
              <a:avLst/>
              <a:gdLst/>
              <a:ahLst/>
              <a:cxnLst/>
              <a:rect l="l" t="t" r="r" b="b"/>
              <a:pathLst>
                <a:path w="212400" h="263920" extrusionOk="0">
                  <a:moveTo>
                    <a:pt x="105696" y="263921"/>
                  </a:moveTo>
                  <a:cubicBezTo>
                    <a:pt x="84415" y="262304"/>
                    <a:pt x="63995" y="254848"/>
                    <a:pt x="46691" y="242376"/>
                  </a:cubicBezTo>
                  <a:cubicBezTo>
                    <a:pt x="32759" y="234194"/>
                    <a:pt x="19374" y="225740"/>
                    <a:pt x="5716" y="216740"/>
                  </a:cubicBezTo>
                  <a:cubicBezTo>
                    <a:pt x="-365" y="212307"/>
                    <a:pt x="-1816" y="203852"/>
                    <a:pt x="2438" y="197650"/>
                  </a:cubicBezTo>
                  <a:cubicBezTo>
                    <a:pt x="6627" y="191569"/>
                    <a:pt x="14961" y="190030"/>
                    <a:pt x="21052" y="194212"/>
                  </a:cubicBezTo>
                  <a:cubicBezTo>
                    <a:pt x="21131" y="194266"/>
                    <a:pt x="21209" y="194321"/>
                    <a:pt x="21287" y="194377"/>
                  </a:cubicBezTo>
                  <a:cubicBezTo>
                    <a:pt x="34125" y="203104"/>
                    <a:pt x="48603" y="211013"/>
                    <a:pt x="60623" y="218922"/>
                  </a:cubicBezTo>
                  <a:cubicBezTo>
                    <a:pt x="74951" y="229995"/>
                    <a:pt x="92495" y="236121"/>
                    <a:pt x="110613" y="236376"/>
                  </a:cubicBezTo>
                  <a:lnTo>
                    <a:pt x="177266" y="193831"/>
                  </a:lnTo>
                  <a:cubicBezTo>
                    <a:pt x="185689" y="188529"/>
                    <a:pt x="188211" y="177414"/>
                    <a:pt x="182900" y="169005"/>
                  </a:cubicBezTo>
                  <a:cubicBezTo>
                    <a:pt x="182844" y="168916"/>
                    <a:pt x="182787" y="168828"/>
                    <a:pt x="182730" y="168741"/>
                  </a:cubicBezTo>
                  <a:lnTo>
                    <a:pt x="92857" y="29380"/>
                  </a:lnTo>
                  <a:cubicBezTo>
                    <a:pt x="91777" y="27451"/>
                    <a:pt x="89358" y="26727"/>
                    <a:pt x="87393" y="27744"/>
                  </a:cubicBezTo>
                  <a:lnTo>
                    <a:pt x="85754" y="29926"/>
                  </a:lnTo>
                  <a:cubicBezTo>
                    <a:pt x="85397" y="31081"/>
                    <a:pt x="85397" y="32316"/>
                    <a:pt x="85754" y="33471"/>
                  </a:cubicBezTo>
                  <a:cubicBezTo>
                    <a:pt x="89870" y="39602"/>
                    <a:pt x="88229" y="47903"/>
                    <a:pt x="82088" y="52012"/>
                  </a:cubicBezTo>
                  <a:cubicBezTo>
                    <a:pt x="81946" y="52107"/>
                    <a:pt x="81802" y="52199"/>
                    <a:pt x="81657" y="52289"/>
                  </a:cubicBezTo>
                  <a:cubicBezTo>
                    <a:pt x="75318" y="56344"/>
                    <a:pt x="66888" y="54515"/>
                    <a:pt x="62808" y="48198"/>
                  </a:cubicBezTo>
                  <a:cubicBezTo>
                    <a:pt x="58253" y="41081"/>
                    <a:pt x="56683" y="32461"/>
                    <a:pt x="58437" y="24199"/>
                  </a:cubicBezTo>
                  <a:cubicBezTo>
                    <a:pt x="60253" y="16198"/>
                    <a:pt x="65162" y="9238"/>
                    <a:pt x="72096" y="4835"/>
                  </a:cubicBezTo>
                  <a:cubicBezTo>
                    <a:pt x="86671" y="-4337"/>
                    <a:pt x="105926" y="-79"/>
                    <a:pt x="115257" y="14381"/>
                  </a:cubicBezTo>
                  <a:lnTo>
                    <a:pt x="205129" y="154014"/>
                  </a:lnTo>
                  <a:cubicBezTo>
                    <a:pt x="218727" y="175011"/>
                    <a:pt x="212701" y="203037"/>
                    <a:pt x="191670" y="216612"/>
                  </a:cubicBezTo>
                  <a:cubicBezTo>
                    <a:pt x="191604" y="216655"/>
                    <a:pt x="191537" y="216698"/>
                    <a:pt x="191471" y="216740"/>
                  </a:cubicBezTo>
                  <a:lnTo>
                    <a:pt x="127003" y="258466"/>
                  </a:lnTo>
                  <a:cubicBezTo>
                    <a:pt x="122829" y="261060"/>
                    <a:pt x="118190" y="262820"/>
                    <a:pt x="113344" y="26364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4" name="Google Shape;1764;g2e37ced3bdd_2_0"/>
            <p:cNvSpPr/>
            <p:nvPr/>
          </p:nvSpPr>
          <p:spPr>
            <a:xfrm>
              <a:off x="4241082" y="3518952"/>
              <a:ext cx="109527" cy="94952"/>
            </a:xfrm>
            <a:custGeom>
              <a:avLst/>
              <a:gdLst/>
              <a:ahLst/>
              <a:cxnLst/>
              <a:rect l="l" t="t" r="r" b="b"/>
              <a:pathLst>
                <a:path w="109527" h="94952" extrusionOk="0">
                  <a:moveTo>
                    <a:pt x="72484" y="94953"/>
                  </a:moveTo>
                  <a:cubicBezTo>
                    <a:pt x="69658" y="94940"/>
                    <a:pt x="66900" y="94085"/>
                    <a:pt x="64563" y="92499"/>
                  </a:cubicBezTo>
                  <a:lnTo>
                    <a:pt x="14026" y="56772"/>
                  </a:lnTo>
                  <a:cubicBezTo>
                    <a:pt x="7242" y="51906"/>
                    <a:pt x="2480" y="44726"/>
                    <a:pt x="641" y="36591"/>
                  </a:cubicBezTo>
                  <a:cubicBezTo>
                    <a:pt x="-1079" y="28256"/>
                    <a:pt x="698" y="19582"/>
                    <a:pt x="5557" y="12591"/>
                  </a:cubicBezTo>
                  <a:cubicBezTo>
                    <a:pt x="16167" y="-1333"/>
                    <a:pt x="36029" y="-4131"/>
                    <a:pt x="50084" y="6319"/>
                  </a:cubicBezTo>
                  <a:lnTo>
                    <a:pt x="101987" y="37954"/>
                  </a:lnTo>
                  <a:cubicBezTo>
                    <a:pt x="108730" y="41329"/>
                    <a:pt x="111457" y="49523"/>
                    <a:pt x="108077" y="56255"/>
                  </a:cubicBezTo>
                  <a:cubicBezTo>
                    <a:pt x="104696" y="62988"/>
                    <a:pt x="96489" y="65710"/>
                    <a:pt x="89746" y="62335"/>
                  </a:cubicBezTo>
                  <a:cubicBezTo>
                    <a:pt x="89059" y="61991"/>
                    <a:pt x="88402" y="61590"/>
                    <a:pt x="87782" y="61136"/>
                  </a:cubicBezTo>
                  <a:lnTo>
                    <a:pt x="35060" y="28954"/>
                  </a:lnTo>
                  <a:cubicBezTo>
                    <a:pt x="31782" y="26773"/>
                    <a:pt x="29051" y="27045"/>
                    <a:pt x="27958" y="28954"/>
                  </a:cubicBezTo>
                  <a:cubicBezTo>
                    <a:pt x="26865" y="30863"/>
                    <a:pt x="27958" y="33591"/>
                    <a:pt x="29870" y="34954"/>
                  </a:cubicBezTo>
                  <a:lnTo>
                    <a:pt x="80406" y="70408"/>
                  </a:lnTo>
                  <a:cubicBezTo>
                    <a:pt x="86487" y="74842"/>
                    <a:pt x="87938" y="83296"/>
                    <a:pt x="83684" y="89498"/>
                  </a:cubicBezTo>
                  <a:cubicBezTo>
                    <a:pt x="80991" y="92942"/>
                    <a:pt x="76860" y="94954"/>
                    <a:pt x="72484" y="9495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5" name="Google Shape;1765;g2e37ced3bdd_2_0"/>
            <p:cNvSpPr/>
            <p:nvPr/>
          </p:nvSpPr>
          <p:spPr>
            <a:xfrm>
              <a:off x="4131114" y="3425607"/>
              <a:ext cx="98370" cy="156662"/>
            </a:xfrm>
            <a:custGeom>
              <a:avLst/>
              <a:gdLst/>
              <a:ahLst/>
              <a:cxnLst/>
              <a:rect l="l" t="t" r="r" b="b"/>
              <a:pathLst>
                <a:path w="98370" h="156662" extrusionOk="0">
                  <a:moveTo>
                    <a:pt x="13634" y="156662"/>
                  </a:moveTo>
                  <a:cubicBezTo>
                    <a:pt x="11029" y="156574"/>
                    <a:pt x="8491" y="155823"/>
                    <a:pt x="6258" y="154480"/>
                  </a:cubicBezTo>
                  <a:cubicBezTo>
                    <a:pt x="-69" y="150407"/>
                    <a:pt x="-1902" y="141990"/>
                    <a:pt x="2161" y="135662"/>
                  </a:cubicBezTo>
                  <a:lnTo>
                    <a:pt x="69360" y="30937"/>
                  </a:lnTo>
                  <a:cubicBezTo>
                    <a:pt x="70752" y="29384"/>
                    <a:pt x="70752" y="27036"/>
                    <a:pt x="69360" y="25483"/>
                  </a:cubicBezTo>
                  <a:cubicBezTo>
                    <a:pt x="62808" y="21751"/>
                    <a:pt x="60526" y="13423"/>
                    <a:pt x="64264" y="6882"/>
                  </a:cubicBezTo>
                  <a:cubicBezTo>
                    <a:pt x="68001" y="340"/>
                    <a:pt x="76343" y="-1938"/>
                    <a:pt x="82895" y="1794"/>
                  </a:cubicBezTo>
                  <a:cubicBezTo>
                    <a:pt x="83314" y="2032"/>
                    <a:pt x="83720" y="2293"/>
                    <a:pt x="84111" y="2574"/>
                  </a:cubicBezTo>
                  <a:cubicBezTo>
                    <a:pt x="91186" y="7081"/>
                    <a:pt x="96117" y="14269"/>
                    <a:pt x="97770" y="22483"/>
                  </a:cubicBezTo>
                  <a:cubicBezTo>
                    <a:pt x="99384" y="30607"/>
                    <a:pt x="97715" y="39038"/>
                    <a:pt x="93126" y="45937"/>
                  </a:cubicBezTo>
                  <a:lnTo>
                    <a:pt x="25380" y="150389"/>
                  </a:lnTo>
                  <a:cubicBezTo>
                    <a:pt x="22784" y="154335"/>
                    <a:pt x="18361" y="156696"/>
                    <a:pt x="13634" y="15666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6" name="Google Shape;1766;g2e37ced3bdd_2_0"/>
            <p:cNvSpPr/>
            <p:nvPr/>
          </p:nvSpPr>
          <p:spPr>
            <a:xfrm>
              <a:off x="4118002" y="3423311"/>
              <a:ext cx="102080" cy="114777"/>
            </a:xfrm>
            <a:custGeom>
              <a:avLst/>
              <a:gdLst/>
              <a:ahLst/>
              <a:cxnLst/>
              <a:rect l="l" t="t" r="r" b="b"/>
              <a:pathLst>
                <a:path w="102080" h="114777" extrusionOk="0">
                  <a:moveTo>
                    <a:pt x="13634" y="114777"/>
                  </a:moveTo>
                  <a:cubicBezTo>
                    <a:pt x="11023" y="114727"/>
                    <a:pt x="8475" y="113974"/>
                    <a:pt x="6258" y="112596"/>
                  </a:cubicBezTo>
                  <a:cubicBezTo>
                    <a:pt x="-69" y="108522"/>
                    <a:pt x="-1902" y="100106"/>
                    <a:pt x="2161" y="93778"/>
                  </a:cubicBezTo>
                  <a:lnTo>
                    <a:pt x="53243" y="14416"/>
                  </a:lnTo>
                  <a:cubicBezTo>
                    <a:pt x="57780" y="7375"/>
                    <a:pt x="64970" y="2459"/>
                    <a:pt x="73185" y="780"/>
                  </a:cubicBezTo>
                  <a:cubicBezTo>
                    <a:pt x="81159" y="-1072"/>
                    <a:pt x="89546" y="406"/>
                    <a:pt x="96404" y="4871"/>
                  </a:cubicBezTo>
                  <a:cubicBezTo>
                    <a:pt x="102525" y="9273"/>
                    <a:pt x="103912" y="17795"/>
                    <a:pt x="99503" y="23905"/>
                  </a:cubicBezTo>
                  <a:cubicBezTo>
                    <a:pt x="95420" y="29563"/>
                    <a:pt x="87720" y="31234"/>
                    <a:pt x="81653" y="27779"/>
                  </a:cubicBezTo>
                  <a:cubicBezTo>
                    <a:pt x="78102" y="27779"/>
                    <a:pt x="77009" y="27779"/>
                    <a:pt x="76190" y="27779"/>
                  </a:cubicBezTo>
                  <a:lnTo>
                    <a:pt x="25107" y="107141"/>
                  </a:lnTo>
                  <a:cubicBezTo>
                    <a:pt x="22901" y="111530"/>
                    <a:pt x="18540" y="114432"/>
                    <a:pt x="13634" y="11477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7" name="Google Shape;1767;g2e37ced3bdd_2_0"/>
            <p:cNvSpPr/>
            <p:nvPr/>
          </p:nvSpPr>
          <p:spPr>
            <a:xfrm>
              <a:off x="4088226" y="3400437"/>
              <a:ext cx="105631" cy="119378"/>
            </a:xfrm>
            <a:custGeom>
              <a:avLst/>
              <a:gdLst/>
              <a:ahLst/>
              <a:cxnLst/>
              <a:rect l="l" t="t" r="r" b="b"/>
              <a:pathLst>
                <a:path w="105631" h="119378" extrusionOk="0">
                  <a:moveTo>
                    <a:pt x="13634" y="119378"/>
                  </a:moveTo>
                  <a:cubicBezTo>
                    <a:pt x="11023" y="119328"/>
                    <a:pt x="8475" y="118575"/>
                    <a:pt x="6258" y="117197"/>
                  </a:cubicBezTo>
                  <a:cubicBezTo>
                    <a:pt x="-69" y="113123"/>
                    <a:pt x="-1902" y="104707"/>
                    <a:pt x="2161" y="98379"/>
                  </a:cubicBezTo>
                  <a:lnTo>
                    <a:pt x="56795" y="14381"/>
                  </a:lnTo>
                  <a:cubicBezTo>
                    <a:pt x="66126" y="-79"/>
                    <a:pt x="85381" y="-4337"/>
                    <a:pt x="99956" y="4835"/>
                  </a:cubicBezTo>
                  <a:cubicBezTo>
                    <a:pt x="106076" y="9237"/>
                    <a:pt x="107463" y="17760"/>
                    <a:pt x="103054" y="23870"/>
                  </a:cubicBezTo>
                  <a:cubicBezTo>
                    <a:pt x="98971" y="29528"/>
                    <a:pt x="91271" y="31199"/>
                    <a:pt x="85204" y="27744"/>
                  </a:cubicBezTo>
                  <a:cubicBezTo>
                    <a:pt x="83649" y="26355"/>
                    <a:pt x="81296" y="26355"/>
                    <a:pt x="79741" y="27744"/>
                  </a:cubicBezTo>
                  <a:lnTo>
                    <a:pt x="25107" y="111742"/>
                  </a:lnTo>
                  <a:cubicBezTo>
                    <a:pt x="23040" y="116252"/>
                    <a:pt x="18598" y="119208"/>
                    <a:pt x="13634" y="11937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8" name="Google Shape;1768;g2e37ced3bdd_2_0"/>
            <p:cNvSpPr/>
            <p:nvPr/>
          </p:nvSpPr>
          <p:spPr>
            <a:xfrm>
              <a:off x="4117455" y="3403008"/>
              <a:ext cx="85860" cy="135693"/>
            </a:xfrm>
            <a:custGeom>
              <a:avLst/>
              <a:gdLst/>
              <a:ahLst/>
              <a:cxnLst/>
              <a:rect l="l" t="t" r="r" b="b"/>
              <a:pathLst>
                <a:path w="85860" h="135693" extrusionOk="0">
                  <a:moveTo>
                    <a:pt x="13634" y="135626"/>
                  </a:moveTo>
                  <a:cubicBezTo>
                    <a:pt x="11010" y="135668"/>
                    <a:pt x="8436" y="134907"/>
                    <a:pt x="6258" y="133444"/>
                  </a:cubicBezTo>
                  <a:cubicBezTo>
                    <a:pt x="-69" y="129371"/>
                    <a:pt x="-1902" y="120954"/>
                    <a:pt x="2161" y="114626"/>
                  </a:cubicBezTo>
                  <a:lnTo>
                    <a:pt x="56794" y="30628"/>
                  </a:lnTo>
                  <a:cubicBezTo>
                    <a:pt x="58303" y="29152"/>
                    <a:pt x="58328" y="26735"/>
                    <a:pt x="56849" y="25229"/>
                  </a:cubicBezTo>
                  <a:cubicBezTo>
                    <a:pt x="56831" y="25210"/>
                    <a:pt x="56813" y="25192"/>
                    <a:pt x="56794" y="25173"/>
                  </a:cubicBezTo>
                  <a:cubicBezTo>
                    <a:pt x="50467" y="21100"/>
                    <a:pt x="48634" y="12684"/>
                    <a:pt x="52697" y="6356"/>
                  </a:cubicBezTo>
                  <a:cubicBezTo>
                    <a:pt x="56575" y="72"/>
                    <a:pt x="64820" y="-1883"/>
                    <a:pt x="71114" y="1988"/>
                  </a:cubicBezTo>
                  <a:cubicBezTo>
                    <a:pt x="71260" y="2077"/>
                    <a:pt x="71404" y="2170"/>
                    <a:pt x="71546" y="2265"/>
                  </a:cubicBezTo>
                  <a:cubicBezTo>
                    <a:pt x="86017" y="11545"/>
                    <a:pt x="90212" y="30779"/>
                    <a:pt x="80917" y="45226"/>
                  </a:cubicBezTo>
                  <a:cubicBezTo>
                    <a:pt x="80889" y="45269"/>
                    <a:pt x="80861" y="45312"/>
                    <a:pt x="80833" y="45355"/>
                  </a:cubicBezTo>
                  <a:lnTo>
                    <a:pt x="26199" y="129353"/>
                  </a:lnTo>
                  <a:cubicBezTo>
                    <a:pt x="23581" y="133697"/>
                    <a:pt x="18685" y="136141"/>
                    <a:pt x="13633" y="13562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9" name="Google Shape;1769;g2e37ced3bdd_2_0"/>
            <p:cNvSpPr/>
            <p:nvPr/>
          </p:nvSpPr>
          <p:spPr>
            <a:xfrm>
              <a:off x="4057905" y="3390948"/>
              <a:ext cx="110615" cy="133517"/>
            </a:xfrm>
            <a:custGeom>
              <a:avLst/>
              <a:gdLst/>
              <a:ahLst/>
              <a:cxnLst/>
              <a:rect l="l" t="t" r="r" b="b"/>
              <a:pathLst>
                <a:path w="110615" h="133517" extrusionOk="0">
                  <a:moveTo>
                    <a:pt x="42043" y="133504"/>
                  </a:moveTo>
                  <a:cubicBezTo>
                    <a:pt x="34500" y="133591"/>
                    <a:pt x="28315" y="127557"/>
                    <a:pt x="28228" y="120026"/>
                  </a:cubicBezTo>
                  <a:cubicBezTo>
                    <a:pt x="28196" y="117250"/>
                    <a:pt x="29012" y="114531"/>
                    <a:pt x="30570" y="112231"/>
                  </a:cubicBezTo>
                  <a:lnTo>
                    <a:pt x="81653" y="33142"/>
                  </a:lnTo>
                  <a:cubicBezTo>
                    <a:pt x="83161" y="31666"/>
                    <a:pt x="83186" y="29249"/>
                    <a:pt x="81708" y="27743"/>
                  </a:cubicBezTo>
                  <a:cubicBezTo>
                    <a:pt x="81689" y="27724"/>
                    <a:pt x="81671" y="27706"/>
                    <a:pt x="81653" y="27688"/>
                  </a:cubicBezTo>
                  <a:cubicBezTo>
                    <a:pt x="79758" y="26623"/>
                    <a:pt x="77360" y="27221"/>
                    <a:pt x="76189" y="29051"/>
                  </a:cubicBezTo>
                  <a:lnTo>
                    <a:pt x="25106" y="108141"/>
                  </a:lnTo>
                  <a:cubicBezTo>
                    <a:pt x="21444" y="114377"/>
                    <a:pt x="13410" y="116469"/>
                    <a:pt x="7163" y="112813"/>
                  </a:cubicBezTo>
                  <a:cubicBezTo>
                    <a:pt x="6854" y="112631"/>
                    <a:pt x="6552" y="112437"/>
                    <a:pt x="6258" y="112231"/>
                  </a:cubicBezTo>
                  <a:cubicBezTo>
                    <a:pt x="-69" y="108158"/>
                    <a:pt x="-1902" y="99742"/>
                    <a:pt x="2161" y="93414"/>
                  </a:cubicBezTo>
                  <a:lnTo>
                    <a:pt x="53243" y="14324"/>
                  </a:lnTo>
                  <a:cubicBezTo>
                    <a:pt x="62521" y="-135"/>
                    <a:pt x="81784" y="-4348"/>
                    <a:pt x="96267" y="4915"/>
                  </a:cubicBezTo>
                  <a:cubicBezTo>
                    <a:pt x="110750" y="14179"/>
                    <a:pt x="114970" y="33410"/>
                    <a:pt x="105691" y="47869"/>
                  </a:cubicBezTo>
                  <a:lnTo>
                    <a:pt x="54609" y="127231"/>
                  </a:lnTo>
                  <a:cubicBezTo>
                    <a:pt x="51785" y="131347"/>
                    <a:pt x="47035" y="133718"/>
                    <a:pt x="42043" y="13350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0" name="Google Shape;1770;g2e37ced3bdd_2_0"/>
            <p:cNvSpPr/>
            <p:nvPr/>
          </p:nvSpPr>
          <p:spPr>
            <a:xfrm>
              <a:off x="3967211" y="3393888"/>
              <a:ext cx="213863" cy="264742"/>
            </a:xfrm>
            <a:custGeom>
              <a:avLst/>
              <a:gdLst/>
              <a:ahLst/>
              <a:cxnLst/>
              <a:rect l="l" t="t" r="r" b="b"/>
              <a:pathLst>
                <a:path w="213863" h="264742" extrusionOk="0">
                  <a:moveTo>
                    <a:pt x="107332" y="264743"/>
                  </a:moveTo>
                  <a:lnTo>
                    <a:pt x="99137" y="264743"/>
                  </a:lnTo>
                  <a:cubicBezTo>
                    <a:pt x="94291" y="263915"/>
                    <a:pt x="89652" y="262155"/>
                    <a:pt x="85478" y="259561"/>
                  </a:cubicBezTo>
                  <a:lnTo>
                    <a:pt x="20737" y="217835"/>
                  </a:lnTo>
                  <a:cubicBezTo>
                    <a:pt x="-296" y="204263"/>
                    <a:pt x="-6327" y="176238"/>
                    <a:pt x="7267" y="155239"/>
                  </a:cubicBezTo>
                  <a:cubicBezTo>
                    <a:pt x="7296" y="155195"/>
                    <a:pt x="7323" y="155152"/>
                    <a:pt x="7352" y="155109"/>
                  </a:cubicBezTo>
                  <a:lnTo>
                    <a:pt x="97225" y="15475"/>
                  </a:lnTo>
                  <a:cubicBezTo>
                    <a:pt x="105866" y="629"/>
                    <a:pt x="124925" y="-4413"/>
                    <a:pt x="139796" y="4214"/>
                  </a:cubicBezTo>
                  <a:cubicBezTo>
                    <a:pt x="154667" y="12840"/>
                    <a:pt x="159718" y="31869"/>
                    <a:pt x="151077" y="46715"/>
                  </a:cubicBezTo>
                  <a:cubicBezTo>
                    <a:pt x="150561" y="47601"/>
                    <a:pt x="150002" y="48462"/>
                    <a:pt x="149400" y="49293"/>
                  </a:cubicBezTo>
                  <a:cubicBezTo>
                    <a:pt x="144991" y="55403"/>
                    <a:pt x="136455" y="56789"/>
                    <a:pt x="130334" y="52386"/>
                  </a:cubicBezTo>
                  <a:cubicBezTo>
                    <a:pt x="124667" y="48311"/>
                    <a:pt x="122993" y="40623"/>
                    <a:pt x="126454" y="34566"/>
                  </a:cubicBezTo>
                  <a:cubicBezTo>
                    <a:pt x="128016" y="32975"/>
                    <a:pt x="128016" y="30429"/>
                    <a:pt x="126454" y="28839"/>
                  </a:cubicBezTo>
                  <a:cubicBezTo>
                    <a:pt x="124654" y="27736"/>
                    <a:pt x="122299" y="28300"/>
                    <a:pt x="121195" y="30097"/>
                  </a:cubicBezTo>
                  <a:cubicBezTo>
                    <a:pt x="121120" y="30219"/>
                    <a:pt x="121052" y="30345"/>
                    <a:pt x="120991" y="30475"/>
                  </a:cubicBezTo>
                  <a:lnTo>
                    <a:pt x="31118" y="169836"/>
                  </a:lnTo>
                  <a:cubicBezTo>
                    <a:pt x="25660" y="178151"/>
                    <a:pt x="27988" y="189308"/>
                    <a:pt x="36316" y="194756"/>
                  </a:cubicBezTo>
                  <a:cubicBezTo>
                    <a:pt x="36404" y="194814"/>
                    <a:pt x="36492" y="194870"/>
                    <a:pt x="36581" y="194926"/>
                  </a:cubicBezTo>
                  <a:lnTo>
                    <a:pt x="101049" y="236652"/>
                  </a:lnTo>
                  <a:cubicBezTo>
                    <a:pt x="119879" y="237550"/>
                    <a:pt x="138402" y="231644"/>
                    <a:pt x="153225" y="220016"/>
                  </a:cubicBezTo>
                  <a:cubicBezTo>
                    <a:pt x="166337" y="212108"/>
                    <a:pt x="180541" y="204199"/>
                    <a:pt x="192288" y="195471"/>
                  </a:cubicBezTo>
                  <a:cubicBezTo>
                    <a:pt x="198500" y="191224"/>
                    <a:pt x="206969" y="192674"/>
                    <a:pt x="211410" y="198744"/>
                  </a:cubicBezTo>
                  <a:cubicBezTo>
                    <a:pt x="215723" y="204923"/>
                    <a:pt x="214202" y="213422"/>
                    <a:pt x="208014" y="217728"/>
                  </a:cubicBezTo>
                  <a:cubicBezTo>
                    <a:pt x="207962" y="217764"/>
                    <a:pt x="207910" y="217799"/>
                    <a:pt x="207858" y="217835"/>
                  </a:cubicBezTo>
                  <a:cubicBezTo>
                    <a:pt x="194746" y="226834"/>
                    <a:pt x="180541" y="235289"/>
                    <a:pt x="167156" y="243471"/>
                  </a:cubicBezTo>
                  <a:cubicBezTo>
                    <a:pt x="149543" y="255898"/>
                    <a:pt x="128849" y="263256"/>
                    <a:pt x="107332" y="26474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1" name="Google Shape;1771;g2e37ced3bdd_2_0"/>
            <p:cNvSpPr/>
            <p:nvPr/>
          </p:nvSpPr>
          <p:spPr>
            <a:xfrm>
              <a:off x="4130099" y="3518980"/>
              <a:ext cx="108516" cy="94924"/>
            </a:xfrm>
            <a:custGeom>
              <a:avLst/>
              <a:gdLst/>
              <a:ahLst/>
              <a:cxnLst/>
              <a:rect l="l" t="t" r="r" b="b"/>
              <a:pathLst>
                <a:path w="108516" h="94924" extrusionOk="0">
                  <a:moveTo>
                    <a:pt x="37322" y="94924"/>
                  </a:moveTo>
                  <a:cubicBezTo>
                    <a:pt x="32899" y="94860"/>
                    <a:pt x="28758" y="92743"/>
                    <a:pt x="26122" y="89197"/>
                  </a:cubicBezTo>
                  <a:cubicBezTo>
                    <a:pt x="21739" y="83068"/>
                    <a:pt x="23162" y="74552"/>
                    <a:pt x="29302" y="70176"/>
                  </a:cubicBezTo>
                  <a:cubicBezTo>
                    <a:pt x="29334" y="70153"/>
                    <a:pt x="29367" y="70130"/>
                    <a:pt x="29399" y="70107"/>
                  </a:cubicBezTo>
                  <a:lnTo>
                    <a:pt x="79936" y="34653"/>
                  </a:lnTo>
                  <a:cubicBezTo>
                    <a:pt x="81828" y="33169"/>
                    <a:pt x="82592" y="30665"/>
                    <a:pt x="81849" y="28380"/>
                  </a:cubicBezTo>
                  <a:cubicBezTo>
                    <a:pt x="79940" y="26828"/>
                    <a:pt x="77202" y="26828"/>
                    <a:pt x="75293" y="28380"/>
                  </a:cubicBezTo>
                  <a:lnTo>
                    <a:pt x="20658" y="61107"/>
                  </a:lnTo>
                  <a:cubicBezTo>
                    <a:pt x="14405" y="65042"/>
                    <a:pt x="6139" y="63171"/>
                    <a:pt x="2197" y="56928"/>
                  </a:cubicBezTo>
                  <a:cubicBezTo>
                    <a:pt x="2158" y="56867"/>
                    <a:pt x="2120" y="56805"/>
                    <a:pt x="2083" y="56744"/>
                  </a:cubicBezTo>
                  <a:cubicBezTo>
                    <a:pt x="-1919" y="50360"/>
                    <a:pt x="20" y="41946"/>
                    <a:pt x="6414" y="37950"/>
                  </a:cubicBezTo>
                  <a:cubicBezTo>
                    <a:pt x="6427" y="37942"/>
                    <a:pt x="6440" y="37934"/>
                    <a:pt x="6453" y="37926"/>
                  </a:cubicBezTo>
                  <a:lnTo>
                    <a:pt x="59175" y="5745"/>
                  </a:lnTo>
                  <a:cubicBezTo>
                    <a:pt x="73221" y="-4042"/>
                    <a:pt x="92497" y="-1035"/>
                    <a:pt x="102883" y="12563"/>
                  </a:cubicBezTo>
                  <a:cubicBezTo>
                    <a:pt x="107867" y="19499"/>
                    <a:pt x="109656" y="28228"/>
                    <a:pt x="107800" y="36562"/>
                  </a:cubicBezTo>
                  <a:cubicBezTo>
                    <a:pt x="106166" y="44783"/>
                    <a:pt x="101357" y="52032"/>
                    <a:pt x="94414" y="56743"/>
                  </a:cubicBezTo>
                  <a:lnTo>
                    <a:pt x="44151" y="92470"/>
                  </a:lnTo>
                  <a:cubicBezTo>
                    <a:pt x="42126" y="93865"/>
                    <a:pt x="39773" y="94710"/>
                    <a:pt x="37322" y="9492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g2e37ced3bdd_2_0"/>
            <p:cNvSpPr/>
            <p:nvPr/>
          </p:nvSpPr>
          <p:spPr>
            <a:xfrm>
              <a:off x="4252290" y="3193090"/>
              <a:ext cx="97309" cy="156280"/>
            </a:xfrm>
            <a:custGeom>
              <a:avLst/>
              <a:gdLst/>
              <a:ahLst/>
              <a:cxnLst/>
              <a:rect l="l" t="t" r="r" b="b"/>
              <a:pathLst>
                <a:path w="97309" h="156280" extrusionOk="0">
                  <a:moveTo>
                    <a:pt x="21667" y="156275"/>
                  </a:moveTo>
                  <a:cubicBezTo>
                    <a:pt x="18953" y="156356"/>
                    <a:pt x="16280" y="155593"/>
                    <a:pt x="14018" y="154093"/>
                  </a:cubicBezTo>
                  <a:cubicBezTo>
                    <a:pt x="-274" y="144601"/>
                    <a:pt x="-4288" y="125413"/>
                    <a:pt x="5004" y="111003"/>
                  </a:cubicBezTo>
                  <a:lnTo>
                    <a:pt x="72203" y="6551"/>
                  </a:lnTo>
                  <a:cubicBezTo>
                    <a:pt x="75973" y="202"/>
                    <a:pt x="84185" y="-1893"/>
                    <a:pt x="90543" y="1870"/>
                  </a:cubicBezTo>
                  <a:cubicBezTo>
                    <a:pt x="90715" y="1972"/>
                    <a:pt x="90885" y="2078"/>
                    <a:pt x="91052" y="2187"/>
                  </a:cubicBezTo>
                  <a:cubicBezTo>
                    <a:pt x="97379" y="6260"/>
                    <a:pt x="99211" y="14677"/>
                    <a:pt x="95149" y="21005"/>
                  </a:cubicBezTo>
                  <a:lnTo>
                    <a:pt x="27950" y="125730"/>
                  </a:lnTo>
                  <a:cubicBezTo>
                    <a:pt x="26441" y="127206"/>
                    <a:pt x="26416" y="129623"/>
                    <a:pt x="27895" y="131129"/>
                  </a:cubicBezTo>
                  <a:cubicBezTo>
                    <a:pt x="27913" y="131148"/>
                    <a:pt x="27932" y="131166"/>
                    <a:pt x="27950" y="131184"/>
                  </a:cubicBezTo>
                  <a:cubicBezTo>
                    <a:pt x="34277" y="135258"/>
                    <a:pt x="36110" y="143674"/>
                    <a:pt x="32047" y="150002"/>
                  </a:cubicBezTo>
                  <a:cubicBezTo>
                    <a:pt x="29729" y="153567"/>
                    <a:pt x="25905" y="155877"/>
                    <a:pt x="21667" y="15627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3" name="Google Shape;1773;g2e37ced3bdd_2_0"/>
            <p:cNvSpPr/>
            <p:nvPr/>
          </p:nvSpPr>
          <p:spPr>
            <a:xfrm>
              <a:off x="4260215" y="3238830"/>
              <a:ext cx="102770" cy="114080"/>
            </a:xfrm>
            <a:custGeom>
              <a:avLst/>
              <a:gdLst/>
              <a:ahLst/>
              <a:cxnLst/>
              <a:rect l="l" t="t" r="r" b="b"/>
              <a:pathLst>
                <a:path w="102770" h="114080" extrusionOk="0">
                  <a:moveTo>
                    <a:pt x="22757" y="113262"/>
                  </a:moveTo>
                  <a:cubicBezTo>
                    <a:pt x="16927" y="113279"/>
                    <a:pt x="11224" y="111570"/>
                    <a:pt x="6366" y="108353"/>
                  </a:cubicBezTo>
                  <a:cubicBezTo>
                    <a:pt x="72" y="104482"/>
                    <a:pt x="-1887" y="96250"/>
                    <a:pt x="1991" y="89966"/>
                  </a:cubicBezTo>
                  <a:cubicBezTo>
                    <a:pt x="2081" y="89821"/>
                    <a:pt x="2173" y="89677"/>
                    <a:pt x="2269" y="89536"/>
                  </a:cubicBezTo>
                  <a:cubicBezTo>
                    <a:pt x="6349" y="83219"/>
                    <a:pt x="14779" y="81389"/>
                    <a:pt x="21118" y="85445"/>
                  </a:cubicBezTo>
                  <a:cubicBezTo>
                    <a:pt x="24395" y="85445"/>
                    <a:pt x="25488" y="85445"/>
                    <a:pt x="26581" y="85445"/>
                  </a:cubicBezTo>
                  <a:lnTo>
                    <a:pt x="77663" y="6356"/>
                  </a:lnTo>
                  <a:cubicBezTo>
                    <a:pt x="81541" y="72"/>
                    <a:pt x="89787" y="-1883"/>
                    <a:pt x="96081" y="1988"/>
                  </a:cubicBezTo>
                  <a:cubicBezTo>
                    <a:pt x="96226" y="2077"/>
                    <a:pt x="96370" y="2170"/>
                    <a:pt x="96512" y="2265"/>
                  </a:cubicBezTo>
                  <a:cubicBezTo>
                    <a:pt x="102839" y="6338"/>
                    <a:pt x="104672" y="14755"/>
                    <a:pt x="100610" y="21083"/>
                  </a:cubicBezTo>
                  <a:lnTo>
                    <a:pt x="49527" y="100172"/>
                  </a:lnTo>
                  <a:cubicBezTo>
                    <a:pt x="44934" y="107210"/>
                    <a:pt x="37785" y="112196"/>
                    <a:pt x="29586" y="11408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4" name="Google Shape;1774;g2e37ced3bdd_2_0"/>
            <p:cNvSpPr/>
            <p:nvPr/>
          </p:nvSpPr>
          <p:spPr>
            <a:xfrm>
              <a:off x="4286185" y="3256303"/>
              <a:ext cx="107267" cy="118708"/>
            </a:xfrm>
            <a:custGeom>
              <a:avLst/>
              <a:gdLst/>
              <a:ahLst/>
              <a:cxnLst/>
              <a:rect l="l" t="t" r="r" b="b"/>
              <a:pathLst>
                <a:path w="107267" h="118708" extrusionOk="0">
                  <a:moveTo>
                    <a:pt x="23557" y="118698"/>
                  </a:moveTo>
                  <a:cubicBezTo>
                    <a:pt x="17630" y="118803"/>
                    <a:pt x="11814" y="117089"/>
                    <a:pt x="6893" y="113789"/>
                  </a:cubicBezTo>
                  <a:cubicBezTo>
                    <a:pt x="341" y="110057"/>
                    <a:pt x="-1941" y="101729"/>
                    <a:pt x="1797" y="95188"/>
                  </a:cubicBezTo>
                  <a:cubicBezTo>
                    <a:pt x="5535" y="88646"/>
                    <a:pt x="13876" y="86368"/>
                    <a:pt x="20428" y="90100"/>
                  </a:cubicBezTo>
                  <a:cubicBezTo>
                    <a:pt x="20847" y="90338"/>
                    <a:pt x="21253" y="90599"/>
                    <a:pt x="21644" y="90880"/>
                  </a:cubicBezTo>
                  <a:cubicBezTo>
                    <a:pt x="23200" y="92269"/>
                    <a:pt x="25553" y="92269"/>
                    <a:pt x="27108" y="90880"/>
                  </a:cubicBezTo>
                  <a:lnTo>
                    <a:pt x="81742" y="6882"/>
                  </a:lnTo>
                  <a:cubicBezTo>
                    <a:pt x="85480" y="340"/>
                    <a:pt x="93821" y="-1938"/>
                    <a:pt x="100374" y="1794"/>
                  </a:cubicBezTo>
                  <a:cubicBezTo>
                    <a:pt x="106926" y="5525"/>
                    <a:pt x="109208" y="13853"/>
                    <a:pt x="105470" y="20395"/>
                  </a:cubicBezTo>
                  <a:cubicBezTo>
                    <a:pt x="105231" y="20813"/>
                    <a:pt x="104970" y="21218"/>
                    <a:pt x="104689" y="21609"/>
                  </a:cubicBezTo>
                  <a:lnTo>
                    <a:pt x="50054" y="105607"/>
                  </a:lnTo>
                  <a:cubicBezTo>
                    <a:pt x="43927" y="114069"/>
                    <a:pt x="34012" y="118967"/>
                    <a:pt x="23557" y="11869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5" name="Google Shape;1775;g2e37ced3bdd_2_0"/>
            <p:cNvSpPr/>
            <p:nvPr/>
          </p:nvSpPr>
          <p:spPr>
            <a:xfrm>
              <a:off x="4278928" y="3236756"/>
              <a:ext cx="84984" cy="135245"/>
            </a:xfrm>
            <a:custGeom>
              <a:avLst/>
              <a:gdLst/>
              <a:ahLst/>
              <a:cxnLst/>
              <a:rect l="l" t="t" r="r" b="b"/>
              <a:pathLst>
                <a:path w="84984" h="135245" extrusionOk="0">
                  <a:moveTo>
                    <a:pt x="20433" y="135245"/>
                  </a:moveTo>
                  <a:cubicBezTo>
                    <a:pt x="18236" y="135223"/>
                    <a:pt x="16078" y="134661"/>
                    <a:pt x="14151" y="133609"/>
                  </a:cubicBezTo>
                  <a:cubicBezTo>
                    <a:pt x="7262" y="129090"/>
                    <a:pt x="2448" y="122029"/>
                    <a:pt x="765" y="113973"/>
                  </a:cubicBezTo>
                  <a:cubicBezTo>
                    <a:pt x="-1101" y="105800"/>
                    <a:pt x="480" y="97221"/>
                    <a:pt x="5136" y="90246"/>
                  </a:cubicBezTo>
                  <a:lnTo>
                    <a:pt x="59770" y="6248"/>
                  </a:lnTo>
                  <a:cubicBezTo>
                    <a:pt x="63850" y="-69"/>
                    <a:pt x="72280" y="-1899"/>
                    <a:pt x="78619" y="2157"/>
                  </a:cubicBezTo>
                  <a:cubicBezTo>
                    <a:pt x="84913" y="6028"/>
                    <a:pt x="86871" y="14260"/>
                    <a:pt x="82994" y="20544"/>
                  </a:cubicBezTo>
                  <a:cubicBezTo>
                    <a:pt x="82904" y="20689"/>
                    <a:pt x="82812" y="20833"/>
                    <a:pt x="82716" y="20975"/>
                  </a:cubicBezTo>
                  <a:lnTo>
                    <a:pt x="28082" y="104973"/>
                  </a:lnTo>
                  <a:cubicBezTo>
                    <a:pt x="27590" y="106009"/>
                    <a:pt x="27590" y="107210"/>
                    <a:pt x="28082" y="108246"/>
                  </a:cubicBezTo>
                  <a:cubicBezTo>
                    <a:pt x="34494" y="112709"/>
                    <a:pt x="36598" y="121227"/>
                    <a:pt x="32999" y="128155"/>
                  </a:cubicBezTo>
                  <a:cubicBezTo>
                    <a:pt x="30296" y="132504"/>
                    <a:pt x="25559" y="135177"/>
                    <a:pt x="20433" y="13524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6" name="Google Shape;1776;g2e37ced3bdd_2_0"/>
            <p:cNvSpPr/>
            <p:nvPr/>
          </p:nvSpPr>
          <p:spPr>
            <a:xfrm>
              <a:off x="4313376" y="3252466"/>
              <a:ext cx="109815" cy="133527"/>
            </a:xfrm>
            <a:custGeom>
              <a:avLst/>
              <a:gdLst/>
              <a:ahLst/>
              <a:cxnLst/>
              <a:rect l="l" t="t" r="r" b="b"/>
              <a:pathLst>
                <a:path w="109815" h="133527" extrusionOk="0">
                  <a:moveTo>
                    <a:pt x="30786" y="133444"/>
                  </a:moveTo>
                  <a:cubicBezTo>
                    <a:pt x="24871" y="133465"/>
                    <a:pt x="19078" y="131759"/>
                    <a:pt x="14122" y="128535"/>
                  </a:cubicBezTo>
                  <a:cubicBezTo>
                    <a:pt x="-280" y="119149"/>
                    <a:pt x="-4333" y="99884"/>
                    <a:pt x="5068" y="85506"/>
                  </a:cubicBezTo>
                  <a:cubicBezTo>
                    <a:pt x="5081" y="85485"/>
                    <a:pt x="5094" y="85465"/>
                    <a:pt x="5108" y="85445"/>
                  </a:cubicBezTo>
                  <a:lnTo>
                    <a:pt x="56191" y="6356"/>
                  </a:lnTo>
                  <a:cubicBezTo>
                    <a:pt x="60068" y="72"/>
                    <a:pt x="68314" y="-1883"/>
                    <a:pt x="74608" y="1988"/>
                  </a:cubicBezTo>
                  <a:cubicBezTo>
                    <a:pt x="74754" y="2077"/>
                    <a:pt x="74897" y="2170"/>
                    <a:pt x="75040" y="2265"/>
                  </a:cubicBezTo>
                  <a:cubicBezTo>
                    <a:pt x="81367" y="6338"/>
                    <a:pt x="83199" y="14755"/>
                    <a:pt x="79137" y="21083"/>
                  </a:cubicBezTo>
                  <a:lnTo>
                    <a:pt x="28054" y="100172"/>
                  </a:lnTo>
                  <a:cubicBezTo>
                    <a:pt x="26546" y="101647"/>
                    <a:pt x="26521" y="104065"/>
                    <a:pt x="27999" y="105571"/>
                  </a:cubicBezTo>
                  <a:cubicBezTo>
                    <a:pt x="28018" y="105590"/>
                    <a:pt x="28036" y="105608"/>
                    <a:pt x="28054" y="105626"/>
                  </a:cubicBezTo>
                  <a:cubicBezTo>
                    <a:pt x="29965" y="106560"/>
                    <a:pt x="32272" y="105984"/>
                    <a:pt x="33518" y="104262"/>
                  </a:cubicBezTo>
                  <a:lnTo>
                    <a:pt x="84600" y="25173"/>
                  </a:lnTo>
                  <a:cubicBezTo>
                    <a:pt x="88680" y="18857"/>
                    <a:pt x="97110" y="17027"/>
                    <a:pt x="103449" y="21082"/>
                  </a:cubicBezTo>
                  <a:cubicBezTo>
                    <a:pt x="109743" y="24954"/>
                    <a:pt x="111702" y="33186"/>
                    <a:pt x="107824" y="39469"/>
                  </a:cubicBezTo>
                  <a:cubicBezTo>
                    <a:pt x="107734" y="39615"/>
                    <a:pt x="107642" y="39758"/>
                    <a:pt x="107546" y="39900"/>
                  </a:cubicBezTo>
                  <a:lnTo>
                    <a:pt x="56464" y="118989"/>
                  </a:lnTo>
                  <a:cubicBezTo>
                    <a:pt x="50912" y="128664"/>
                    <a:pt x="40283" y="134288"/>
                    <a:pt x="29147" y="13344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7" name="Google Shape;1777;g2e37ced3bdd_2_0"/>
            <p:cNvSpPr/>
            <p:nvPr/>
          </p:nvSpPr>
          <p:spPr>
            <a:xfrm>
              <a:off x="4299109" y="3116105"/>
              <a:ext cx="212946" cy="264622"/>
            </a:xfrm>
            <a:custGeom>
              <a:avLst/>
              <a:gdLst/>
              <a:ahLst/>
              <a:cxnLst/>
              <a:rect l="l" t="t" r="r" b="b"/>
              <a:pathLst>
                <a:path w="212946" h="264622" extrusionOk="0">
                  <a:moveTo>
                    <a:pt x="89852" y="264623"/>
                  </a:moveTo>
                  <a:cubicBezTo>
                    <a:pt x="83944" y="264598"/>
                    <a:pt x="78164" y="262895"/>
                    <a:pt x="73189" y="259714"/>
                  </a:cubicBezTo>
                  <a:cubicBezTo>
                    <a:pt x="66172" y="255200"/>
                    <a:pt x="61330" y="247998"/>
                    <a:pt x="59803" y="239805"/>
                  </a:cubicBezTo>
                  <a:cubicBezTo>
                    <a:pt x="58225" y="231716"/>
                    <a:pt x="59787" y="223331"/>
                    <a:pt x="64174" y="216351"/>
                  </a:cubicBezTo>
                  <a:cubicBezTo>
                    <a:pt x="68343" y="210163"/>
                    <a:pt x="76657" y="208359"/>
                    <a:pt x="83023" y="212260"/>
                  </a:cubicBezTo>
                  <a:cubicBezTo>
                    <a:pt x="89407" y="216272"/>
                    <a:pt x="91324" y="224691"/>
                    <a:pt x="87306" y="231064"/>
                  </a:cubicBezTo>
                  <a:cubicBezTo>
                    <a:pt x="87245" y="231160"/>
                    <a:pt x="87183" y="231256"/>
                    <a:pt x="87120" y="231351"/>
                  </a:cubicBezTo>
                  <a:cubicBezTo>
                    <a:pt x="85936" y="232976"/>
                    <a:pt x="85936" y="235179"/>
                    <a:pt x="87120" y="236805"/>
                  </a:cubicBezTo>
                  <a:cubicBezTo>
                    <a:pt x="88920" y="237908"/>
                    <a:pt x="91275" y="237344"/>
                    <a:pt x="92380" y="235547"/>
                  </a:cubicBezTo>
                  <a:cubicBezTo>
                    <a:pt x="92455" y="235424"/>
                    <a:pt x="92523" y="235298"/>
                    <a:pt x="92583" y="235169"/>
                  </a:cubicBezTo>
                  <a:lnTo>
                    <a:pt x="182457" y="95808"/>
                  </a:lnTo>
                  <a:cubicBezTo>
                    <a:pt x="185538" y="91558"/>
                    <a:pt x="186541" y="86151"/>
                    <a:pt x="185188" y="81081"/>
                  </a:cubicBezTo>
                  <a:cubicBezTo>
                    <a:pt x="184111" y="76392"/>
                    <a:pt x="181277" y="72294"/>
                    <a:pt x="177267" y="69627"/>
                  </a:cubicBezTo>
                  <a:lnTo>
                    <a:pt x="112799" y="28173"/>
                  </a:lnTo>
                  <a:cubicBezTo>
                    <a:pt x="93978" y="26995"/>
                    <a:pt x="75388" y="32826"/>
                    <a:pt x="60623" y="44536"/>
                  </a:cubicBezTo>
                  <a:cubicBezTo>
                    <a:pt x="47238" y="52445"/>
                    <a:pt x="33306" y="60354"/>
                    <a:pt x="21287" y="69354"/>
                  </a:cubicBezTo>
                  <a:cubicBezTo>
                    <a:pt x="15090" y="73516"/>
                    <a:pt x="6693" y="71937"/>
                    <a:pt x="2438" y="65809"/>
                  </a:cubicBezTo>
                  <a:cubicBezTo>
                    <a:pt x="-1816" y="59606"/>
                    <a:pt x="-365" y="51152"/>
                    <a:pt x="5716" y="46718"/>
                  </a:cubicBezTo>
                  <a:cubicBezTo>
                    <a:pt x="19101" y="37719"/>
                    <a:pt x="33033" y="29537"/>
                    <a:pt x="46691" y="21083"/>
                  </a:cubicBezTo>
                  <a:cubicBezTo>
                    <a:pt x="65988" y="6541"/>
                    <a:pt x="89734" y="-879"/>
                    <a:pt x="113891" y="83"/>
                  </a:cubicBezTo>
                  <a:cubicBezTo>
                    <a:pt x="118730" y="778"/>
                    <a:pt x="123377" y="2448"/>
                    <a:pt x="127550" y="4992"/>
                  </a:cubicBezTo>
                  <a:lnTo>
                    <a:pt x="192018" y="46718"/>
                  </a:lnTo>
                  <a:cubicBezTo>
                    <a:pt x="202040" y="52792"/>
                    <a:pt x="209219" y="62609"/>
                    <a:pt x="211959" y="73990"/>
                  </a:cubicBezTo>
                  <a:cubicBezTo>
                    <a:pt x="214447" y="85736"/>
                    <a:pt x="212189" y="97988"/>
                    <a:pt x="205676" y="108080"/>
                  </a:cubicBezTo>
                  <a:lnTo>
                    <a:pt x="115803" y="247714"/>
                  </a:lnTo>
                  <a:cubicBezTo>
                    <a:pt x="110574" y="257369"/>
                    <a:pt x="100810" y="263730"/>
                    <a:pt x="89852" y="26462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8" name="Google Shape;1778;g2e37ced3bdd_2_0"/>
            <p:cNvSpPr/>
            <p:nvPr/>
          </p:nvSpPr>
          <p:spPr>
            <a:xfrm>
              <a:off x="4241281" y="3160909"/>
              <a:ext cx="110419" cy="95773"/>
            </a:xfrm>
            <a:custGeom>
              <a:avLst/>
              <a:gdLst/>
              <a:ahLst/>
              <a:cxnLst/>
              <a:rect l="l" t="t" r="r" b="b"/>
              <a:pathLst>
                <a:path w="110419" h="95773" extrusionOk="0">
                  <a:moveTo>
                    <a:pt x="30764" y="95731"/>
                  </a:moveTo>
                  <a:cubicBezTo>
                    <a:pt x="20721" y="95798"/>
                    <a:pt x="11261" y="91026"/>
                    <a:pt x="5359" y="82913"/>
                  </a:cubicBezTo>
                  <a:cubicBezTo>
                    <a:pt x="-4308" y="68335"/>
                    <a:pt x="-548" y="48717"/>
                    <a:pt x="13827" y="38732"/>
                  </a:cubicBezTo>
                  <a:lnTo>
                    <a:pt x="64364" y="3279"/>
                  </a:lnTo>
                  <a:cubicBezTo>
                    <a:pt x="70094" y="-1620"/>
                    <a:pt x="78716" y="-953"/>
                    <a:pt x="83623" y="4767"/>
                  </a:cubicBezTo>
                  <a:cubicBezTo>
                    <a:pt x="88529" y="10488"/>
                    <a:pt x="87861" y="19096"/>
                    <a:pt x="82132" y="23994"/>
                  </a:cubicBezTo>
                  <a:cubicBezTo>
                    <a:pt x="81531" y="24507"/>
                    <a:pt x="80888" y="24967"/>
                    <a:pt x="80208" y="25369"/>
                  </a:cubicBezTo>
                  <a:lnTo>
                    <a:pt x="29671" y="61096"/>
                  </a:lnTo>
                  <a:cubicBezTo>
                    <a:pt x="27505" y="62159"/>
                    <a:pt x="26612" y="64774"/>
                    <a:pt x="27677" y="66937"/>
                  </a:cubicBezTo>
                  <a:cubicBezTo>
                    <a:pt x="27703" y="66990"/>
                    <a:pt x="27731" y="67043"/>
                    <a:pt x="27759" y="67095"/>
                  </a:cubicBezTo>
                  <a:cubicBezTo>
                    <a:pt x="27759" y="68459"/>
                    <a:pt x="31583" y="68732"/>
                    <a:pt x="34042" y="67095"/>
                  </a:cubicBezTo>
                  <a:lnTo>
                    <a:pt x="88676" y="34369"/>
                  </a:lnTo>
                  <a:cubicBezTo>
                    <a:pt x="94756" y="29911"/>
                    <a:pt x="103305" y="31219"/>
                    <a:pt x="107770" y="37289"/>
                  </a:cubicBezTo>
                  <a:cubicBezTo>
                    <a:pt x="112234" y="43359"/>
                    <a:pt x="110925" y="51893"/>
                    <a:pt x="104845" y="56351"/>
                  </a:cubicBezTo>
                  <a:cubicBezTo>
                    <a:pt x="104225" y="56805"/>
                    <a:pt x="103568" y="57206"/>
                    <a:pt x="102881" y="57550"/>
                  </a:cubicBezTo>
                  <a:lnTo>
                    <a:pt x="49340" y="90822"/>
                  </a:lnTo>
                  <a:cubicBezTo>
                    <a:pt x="43813" y="94355"/>
                    <a:pt x="37318" y="96072"/>
                    <a:pt x="30764" y="9573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9" name="Google Shape;1779;g2e37ced3bdd_2_0"/>
            <p:cNvSpPr/>
            <p:nvPr/>
          </p:nvSpPr>
          <p:spPr>
            <a:xfrm>
              <a:off x="4130381" y="3193207"/>
              <a:ext cx="97434" cy="156157"/>
            </a:xfrm>
            <a:custGeom>
              <a:avLst/>
              <a:gdLst/>
              <a:ahLst/>
              <a:cxnLst/>
              <a:rect l="l" t="t" r="r" b="b"/>
              <a:pathLst>
                <a:path w="97434" h="156157" extrusionOk="0">
                  <a:moveTo>
                    <a:pt x="76650" y="156158"/>
                  </a:moveTo>
                  <a:cubicBezTo>
                    <a:pt x="72019" y="156101"/>
                    <a:pt x="67719" y="153750"/>
                    <a:pt x="65176" y="149885"/>
                  </a:cubicBezTo>
                  <a:cubicBezTo>
                    <a:pt x="61114" y="143557"/>
                    <a:pt x="62947" y="135141"/>
                    <a:pt x="69274" y="131067"/>
                  </a:cubicBezTo>
                  <a:cubicBezTo>
                    <a:pt x="70782" y="129592"/>
                    <a:pt x="70807" y="127174"/>
                    <a:pt x="69329" y="125668"/>
                  </a:cubicBezTo>
                  <a:cubicBezTo>
                    <a:pt x="69311" y="125650"/>
                    <a:pt x="69292" y="125631"/>
                    <a:pt x="69274" y="125613"/>
                  </a:cubicBezTo>
                  <a:lnTo>
                    <a:pt x="2074" y="20888"/>
                  </a:lnTo>
                  <a:cubicBezTo>
                    <a:pt x="-1924" y="14487"/>
                    <a:pt x="33" y="6062"/>
                    <a:pt x="6445" y="2070"/>
                  </a:cubicBezTo>
                  <a:cubicBezTo>
                    <a:pt x="12857" y="-1921"/>
                    <a:pt x="21295" y="33"/>
                    <a:pt x="25294" y="6434"/>
                  </a:cubicBezTo>
                  <a:lnTo>
                    <a:pt x="92220" y="110886"/>
                  </a:lnTo>
                  <a:cubicBezTo>
                    <a:pt x="101699" y="125033"/>
                    <a:pt x="97896" y="144172"/>
                    <a:pt x="83726" y="153636"/>
                  </a:cubicBezTo>
                  <a:cubicBezTo>
                    <a:pt x="83554" y="153751"/>
                    <a:pt x="83380" y="153864"/>
                    <a:pt x="83205" y="153976"/>
                  </a:cubicBezTo>
                  <a:cubicBezTo>
                    <a:pt x="81274" y="155314"/>
                    <a:pt x="78999" y="156072"/>
                    <a:pt x="76649" y="15615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0" name="Google Shape;1780;g2e37ced3bdd_2_0"/>
            <p:cNvSpPr/>
            <p:nvPr/>
          </p:nvSpPr>
          <p:spPr>
            <a:xfrm>
              <a:off x="4118002" y="3238012"/>
              <a:ext cx="101826" cy="114100"/>
            </a:xfrm>
            <a:custGeom>
              <a:avLst/>
              <a:gdLst/>
              <a:ahLst/>
              <a:cxnLst/>
              <a:rect l="l" t="t" r="r" b="b"/>
              <a:pathLst>
                <a:path w="101826" h="114100" extrusionOk="0">
                  <a:moveTo>
                    <a:pt x="79741" y="114080"/>
                  </a:moveTo>
                  <a:lnTo>
                    <a:pt x="73185" y="114080"/>
                  </a:lnTo>
                  <a:cubicBezTo>
                    <a:pt x="64985" y="112195"/>
                    <a:pt x="57837" y="107210"/>
                    <a:pt x="53244" y="100171"/>
                  </a:cubicBezTo>
                  <a:lnTo>
                    <a:pt x="2161" y="21082"/>
                  </a:lnTo>
                  <a:cubicBezTo>
                    <a:pt x="-1902" y="14754"/>
                    <a:pt x="-69" y="6338"/>
                    <a:pt x="6258" y="2264"/>
                  </a:cubicBezTo>
                  <a:cubicBezTo>
                    <a:pt x="12399" y="-1845"/>
                    <a:pt x="20714" y="-206"/>
                    <a:pt x="24829" y="5924"/>
                  </a:cubicBezTo>
                  <a:cubicBezTo>
                    <a:pt x="24924" y="6066"/>
                    <a:pt x="25017" y="6210"/>
                    <a:pt x="25107" y="6355"/>
                  </a:cubicBezTo>
                  <a:lnTo>
                    <a:pt x="76190" y="85444"/>
                  </a:lnTo>
                  <a:cubicBezTo>
                    <a:pt x="76850" y="86379"/>
                    <a:pt x="77816" y="87054"/>
                    <a:pt x="78922" y="87353"/>
                  </a:cubicBezTo>
                  <a:cubicBezTo>
                    <a:pt x="85639" y="83237"/>
                    <a:pt x="94390" y="84890"/>
                    <a:pt x="99136" y="91172"/>
                  </a:cubicBezTo>
                  <a:cubicBezTo>
                    <a:pt x="103530" y="96918"/>
                    <a:pt x="102426" y="105133"/>
                    <a:pt x="96670" y="109520"/>
                  </a:cubicBezTo>
                  <a:cubicBezTo>
                    <a:pt x="96582" y="109587"/>
                    <a:pt x="96494" y="109652"/>
                    <a:pt x="96405" y="109717"/>
                  </a:cubicBezTo>
                  <a:cubicBezTo>
                    <a:pt x="91402" y="112779"/>
                    <a:pt x="85605" y="114297"/>
                    <a:pt x="79741" y="11408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1" name="Google Shape;1781;g2e37ced3bdd_2_0"/>
            <p:cNvSpPr/>
            <p:nvPr/>
          </p:nvSpPr>
          <p:spPr>
            <a:xfrm>
              <a:off x="4087497" y="3256155"/>
              <a:ext cx="106068" cy="118847"/>
            </a:xfrm>
            <a:custGeom>
              <a:avLst/>
              <a:gdLst/>
              <a:ahLst/>
              <a:cxnLst/>
              <a:rect l="l" t="t" r="r" b="b"/>
              <a:pathLst>
                <a:path w="106068" h="118847" extrusionOk="0">
                  <a:moveTo>
                    <a:pt x="83748" y="118846"/>
                  </a:moveTo>
                  <a:cubicBezTo>
                    <a:pt x="72783" y="118936"/>
                    <a:pt x="62512" y="113501"/>
                    <a:pt x="56431" y="104392"/>
                  </a:cubicBezTo>
                  <a:lnTo>
                    <a:pt x="1797" y="20394"/>
                  </a:lnTo>
                  <a:cubicBezTo>
                    <a:pt x="-1941" y="13852"/>
                    <a:pt x="341" y="5524"/>
                    <a:pt x="6893" y="1793"/>
                  </a:cubicBezTo>
                  <a:cubicBezTo>
                    <a:pt x="12960" y="-1662"/>
                    <a:pt x="20661" y="9"/>
                    <a:pt x="24743" y="5667"/>
                  </a:cubicBezTo>
                  <a:lnTo>
                    <a:pt x="79377" y="89665"/>
                  </a:lnTo>
                  <a:cubicBezTo>
                    <a:pt x="80933" y="91054"/>
                    <a:pt x="83286" y="91054"/>
                    <a:pt x="84841" y="89665"/>
                  </a:cubicBezTo>
                  <a:cubicBezTo>
                    <a:pt x="91177" y="85523"/>
                    <a:pt x="99677" y="87293"/>
                    <a:pt x="103826" y="93619"/>
                  </a:cubicBezTo>
                  <a:cubicBezTo>
                    <a:pt x="107975" y="99945"/>
                    <a:pt x="106202" y="108431"/>
                    <a:pt x="99865" y="112573"/>
                  </a:cubicBezTo>
                  <a:cubicBezTo>
                    <a:pt x="95258" y="116255"/>
                    <a:pt x="89635" y="118443"/>
                    <a:pt x="83748" y="11884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2" name="Google Shape;1782;g2e37ced3bdd_2_0"/>
            <p:cNvSpPr/>
            <p:nvPr/>
          </p:nvSpPr>
          <p:spPr>
            <a:xfrm>
              <a:off x="4116453" y="3237337"/>
              <a:ext cx="84423" cy="134936"/>
            </a:xfrm>
            <a:custGeom>
              <a:avLst/>
              <a:gdLst/>
              <a:ahLst/>
              <a:cxnLst/>
              <a:rect l="l" t="t" r="r" b="b"/>
              <a:pathLst>
                <a:path w="84423" h="134936" extrusionOk="0">
                  <a:moveTo>
                    <a:pt x="63806" y="134937"/>
                  </a:moveTo>
                  <a:cubicBezTo>
                    <a:pt x="59175" y="134880"/>
                    <a:pt x="54875" y="132529"/>
                    <a:pt x="52333" y="128664"/>
                  </a:cubicBezTo>
                  <a:cubicBezTo>
                    <a:pt x="48271" y="122336"/>
                    <a:pt x="50103" y="113920"/>
                    <a:pt x="56430" y="109846"/>
                  </a:cubicBezTo>
                  <a:cubicBezTo>
                    <a:pt x="58070" y="107119"/>
                    <a:pt x="58343" y="105756"/>
                    <a:pt x="56431" y="104392"/>
                  </a:cubicBezTo>
                  <a:lnTo>
                    <a:pt x="1797" y="20394"/>
                  </a:lnTo>
                  <a:cubicBezTo>
                    <a:pt x="-1941" y="13852"/>
                    <a:pt x="341" y="5524"/>
                    <a:pt x="6893" y="1793"/>
                  </a:cubicBezTo>
                  <a:cubicBezTo>
                    <a:pt x="12960" y="-1662"/>
                    <a:pt x="20661" y="9"/>
                    <a:pt x="24743" y="5667"/>
                  </a:cubicBezTo>
                  <a:lnTo>
                    <a:pt x="79377" y="89665"/>
                  </a:lnTo>
                  <a:cubicBezTo>
                    <a:pt x="88802" y="104201"/>
                    <a:pt x="84644" y="123611"/>
                    <a:pt x="70089" y="133028"/>
                  </a:cubicBezTo>
                  <a:cubicBezTo>
                    <a:pt x="68182" y="134165"/>
                    <a:pt x="66025" y="134820"/>
                    <a:pt x="63807" y="13493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3" name="Google Shape;1783;g2e37ced3bdd_2_0"/>
            <p:cNvSpPr/>
            <p:nvPr/>
          </p:nvSpPr>
          <p:spPr>
            <a:xfrm>
              <a:off x="4057175" y="3252486"/>
              <a:ext cx="109222" cy="133633"/>
            </a:xfrm>
            <a:custGeom>
              <a:avLst/>
              <a:gdLst/>
              <a:ahLst/>
              <a:cxnLst/>
              <a:rect l="l" t="t" r="r" b="b"/>
              <a:pathLst>
                <a:path w="109222" h="133633" extrusionOk="0">
                  <a:moveTo>
                    <a:pt x="79650" y="133423"/>
                  </a:moveTo>
                  <a:cubicBezTo>
                    <a:pt x="77291" y="133703"/>
                    <a:pt x="74907" y="133703"/>
                    <a:pt x="72548" y="133423"/>
                  </a:cubicBezTo>
                  <a:cubicBezTo>
                    <a:pt x="64425" y="131527"/>
                    <a:pt x="57367" y="126536"/>
                    <a:pt x="52880" y="119514"/>
                  </a:cubicBezTo>
                  <a:lnTo>
                    <a:pt x="1797" y="40425"/>
                  </a:lnTo>
                  <a:cubicBezTo>
                    <a:pt x="-1941" y="33884"/>
                    <a:pt x="341" y="25556"/>
                    <a:pt x="6893" y="21824"/>
                  </a:cubicBezTo>
                  <a:cubicBezTo>
                    <a:pt x="12960" y="18369"/>
                    <a:pt x="20661" y="20040"/>
                    <a:pt x="24743" y="25698"/>
                  </a:cubicBezTo>
                  <a:lnTo>
                    <a:pt x="75826" y="104787"/>
                  </a:lnTo>
                  <a:cubicBezTo>
                    <a:pt x="77072" y="106509"/>
                    <a:pt x="79379" y="107085"/>
                    <a:pt x="81289" y="106151"/>
                  </a:cubicBezTo>
                  <a:cubicBezTo>
                    <a:pt x="82928" y="106151"/>
                    <a:pt x="83202" y="102333"/>
                    <a:pt x="81289" y="100697"/>
                  </a:cubicBezTo>
                  <a:lnTo>
                    <a:pt x="30207" y="21607"/>
                  </a:lnTo>
                  <a:cubicBezTo>
                    <a:pt x="25798" y="15497"/>
                    <a:pt x="27185" y="6975"/>
                    <a:pt x="33305" y="2573"/>
                  </a:cubicBezTo>
                  <a:cubicBezTo>
                    <a:pt x="39426" y="-1829"/>
                    <a:pt x="47962" y="-444"/>
                    <a:pt x="52371" y="5667"/>
                  </a:cubicBezTo>
                  <a:cubicBezTo>
                    <a:pt x="52653" y="6057"/>
                    <a:pt x="52914" y="6462"/>
                    <a:pt x="53153" y="6880"/>
                  </a:cubicBezTo>
                  <a:lnTo>
                    <a:pt x="104236" y="85970"/>
                  </a:lnTo>
                  <a:cubicBezTo>
                    <a:pt x="108648" y="92940"/>
                    <a:pt x="110213" y="101335"/>
                    <a:pt x="108606" y="109424"/>
                  </a:cubicBezTo>
                  <a:cubicBezTo>
                    <a:pt x="106924" y="117625"/>
                    <a:pt x="102000" y="124803"/>
                    <a:pt x="94948" y="129332"/>
                  </a:cubicBezTo>
                  <a:cubicBezTo>
                    <a:pt x="90278" y="131967"/>
                    <a:pt x="85014" y="133374"/>
                    <a:pt x="79650" y="13342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4" name="Google Shape;1784;g2e37ced3bdd_2_0"/>
            <p:cNvSpPr/>
            <p:nvPr/>
          </p:nvSpPr>
          <p:spPr>
            <a:xfrm>
              <a:off x="3967211" y="3117166"/>
              <a:ext cx="213044" cy="263569"/>
            </a:xfrm>
            <a:custGeom>
              <a:avLst/>
              <a:gdLst/>
              <a:ahLst/>
              <a:cxnLst/>
              <a:rect l="l" t="t" r="r" b="b"/>
              <a:pathLst>
                <a:path w="213044" h="263569" extrusionOk="0">
                  <a:moveTo>
                    <a:pt x="124542" y="263562"/>
                  </a:moveTo>
                  <a:cubicBezTo>
                    <a:pt x="113540" y="263806"/>
                    <a:pt x="103199" y="258335"/>
                    <a:pt x="97225" y="249108"/>
                  </a:cubicBezTo>
                  <a:lnTo>
                    <a:pt x="7352" y="109474"/>
                  </a:lnTo>
                  <a:cubicBezTo>
                    <a:pt x="-6314" y="88522"/>
                    <a:pt x="-380" y="60477"/>
                    <a:pt x="20607" y="46833"/>
                  </a:cubicBezTo>
                  <a:cubicBezTo>
                    <a:pt x="20650" y="46804"/>
                    <a:pt x="20694" y="46776"/>
                    <a:pt x="20737" y="46748"/>
                  </a:cubicBezTo>
                  <a:lnTo>
                    <a:pt x="85478" y="5022"/>
                  </a:lnTo>
                  <a:cubicBezTo>
                    <a:pt x="89611" y="2396"/>
                    <a:pt x="94276" y="719"/>
                    <a:pt x="99137" y="113"/>
                  </a:cubicBezTo>
                  <a:cubicBezTo>
                    <a:pt x="123362" y="-1029"/>
                    <a:pt x="147197" y="6516"/>
                    <a:pt x="166337" y="21385"/>
                  </a:cubicBezTo>
                  <a:cubicBezTo>
                    <a:pt x="179995" y="29567"/>
                    <a:pt x="193654" y="37748"/>
                    <a:pt x="207039" y="46748"/>
                  </a:cubicBezTo>
                  <a:cubicBezTo>
                    <a:pt x="213286" y="50969"/>
                    <a:pt x="214924" y="59446"/>
                    <a:pt x="210697" y="65684"/>
                  </a:cubicBezTo>
                  <a:cubicBezTo>
                    <a:pt x="210662" y="65736"/>
                    <a:pt x="210626" y="65787"/>
                    <a:pt x="210590" y="65839"/>
                  </a:cubicBezTo>
                  <a:cubicBezTo>
                    <a:pt x="206233" y="72002"/>
                    <a:pt x="197751" y="73575"/>
                    <a:pt x="191468" y="69384"/>
                  </a:cubicBezTo>
                  <a:cubicBezTo>
                    <a:pt x="178902" y="60384"/>
                    <a:pt x="164151" y="52475"/>
                    <a:pt x="152405" y="44566"/>
                  </a:cubicBezTo>
                  <a:cubicBezTo>
                    <a:pt x="138077" y="33493"/>
                    <a:pt x="120532" y="27367"/>
                    <a:pt x="102415" y="27112"/>
                  </a:cubicBezTo>
                  <a:lnTo>
                    <a:pt x="35762" y="69657"/>
                  </a:lnTo>
                  <a:cubicBezTo>
                    <a:pt x="27339" y="74959"/>
                    <a:pt x="24817" y="86075"/>
                    <a:pt x="30128" y="94483"/>
                  </a:cubicBezTo>
                  <a:cubicBezTo>
                    <a:pt x="30184" y="94572"/>
                    <a:pt x="30241" y="94660"/>
                    <a:pt x="30298" y="94748"/>
                  </a:cubicBezTo>
                  <a:lnTo>
                    <a:pt x="120171" y="234108"/>
                  </a:lnTo>
                  <a:cubicBezTo>
                    <a:pt x="121066" y="236018"/>
                    <a:pt x="123343" y="236842"/>
                    <a:pt x="125256" y="235948"/>
                  </a:cubicBezTo>
                  <a:cubicBezTo>
                    <a:pt x="125386" y="235887"/>
                    <a:pt x="125512" y="235819"/>
                    <a:pt x="125634" y="235744"/>
                  </a:cubicBezTo>
                  <a:cubicBezTo>
                    <a:pt x="127143" y="234268"/>
                    <a:pt x="127168" y="231851"/>
                    <a:pt x="125689" y="230345"/>
                  </a:cubicBezTo>
                  <a:cubicBezTo>
                    <a:pt x="125671" y="230326"/>
                    <a:pt x="125653" y="230308"/>
                    <a:pt x="125634" y="230290"/>
                  </a:cubicBezTo>
                  <a:cubicBezTo>
                    <a:pt x="121486" y="223964"/>
                    <a:pt x="123259" y="215478"/>
                    <a:pt x="129595" y="211336"/>
                  </a:cubicBezTo>
                  <a:cubicBezTo>
                    <a:pt x="135932" y="207193"/>
                    <a:pt x="144432" y="208964"/>
                    <a:pt x="148581" y="215290"/>
                  </a:cubicBezTo>
                  <a:cubicBezTo>
                    <a:pt x="158086" y="229600"/>
                    <a:pt x="154172" y="248893"/>
                    <a:pt x="139838" y="258383"/>
                  </a:cubicBezTo>
                  <a:cubicBezTo>
                    <a:pt x="134814" y="261710"/>
                    <a:pt x="128931" y="263508"/>
                    <a:pt x="122903" y="26356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5" name="Google Shape;1785;g2e37ced3bdd_2_0"/>
            <p:cNvSpPr/>
            <p:nvPr/>
          </p:nvSpPr>
          <p:spPr>
            <a:xfrm>
              <a:off x="4131192" y="3161102"/>
              <a:ext cx="108452" cy="95265"/>
            </a:xfrm>
            <a:custGeom>
              <a:avLst/>
              <a:gdLst/>
              <a:ahLst/>
              <a:cxnLst/>
              <a:rect l="l" t="t" r="r" b="b"/>
              <a:pathLst>
                <a:path w="108452" h="95265" extrusionOk="0">
                  <a:moveTo>
                    <a:pt x="77751" y="95265"/>
                  </a:moveTo>
                  <a:cubicBezTo>
                    <a:pt x="70782" y="95285"/>
                    <a:pt x="63988" y="93088"/>
                    <a:pt x="58356" y="88992"/>
                  </a:cubicBezTo>
                  <a:lnTo>
                    <a:pt x="6453" y="57356"/>
                  </a:lnTo>
                  <a:cubicBezTo>
                    <a:pt x="46" y="53383"/>
                    <a:pt x="-1922" y="44975"/>
                    <a:pt x="2058" y="38578"/>
                  </a:cubicBezTo>
                  <a:cubicBezTo>
                    <a:pt x="2066" y="38565"/>
                    <a:pt x="2074" y="38552"/>
                    <a:pt x="2083" y="38538"/>
                  </a:cubicBezTo>
                  <a:cubicBezTo>
                    <a:pt x="5922" y="32232"/>
                    <a:pt x="14156" y="30227"/>
                    <a:pt x="20473" y="34061"/>
                  </a:cubicBezTo>
                  <a:cubicBezTo>
                    <a:pt x="20535" y="34098"/>
                    <a:pt x="20597" y="34136"/>
                    <a:pt x="20658" y="34175"/>
                  </a:cubicBezTo>
                  <a:lnTo>
                    <a:pt x="73380" y="66356"/>
                  </a:lnTo>
                  <a:cubicBezTo>
                    <a:pt x="76658" y="68538"/>
                    <a:pt x="79663" y="68265"/>
                    <a:pt x="80756" y="66356"/>
                  </a:cubicBezTo>
                  <a:cubicBezTo>
                    <a:pt x="81849" y="64447"/>
                    <a:pt x="80756" y="61992"/>
                    <a:pt x="78570" y="60083"/>
                  </a:cubicBezTo>
                  <a:lnTo>
                    <a:pt x="28307" y="24630"/>
                  </a:lnTo>
                  <a:cubicBezTo>
                    <a:pt x="22216" y="20447"/>
                    <a:pt x="20675" y="12127"/>
                    <a:pt x="24864" y="6046"/>
                  </a:cubicBezTo>
                  <a:cubicBezTo>
                    <a:pt x="24918" y="5968"/>
                    <a:pt x="24973" y="5890"/>
                    <a:pt x="25029" y="5812"/>
                  </a:cubicBezTo>
                  <a:cubicBezTo>
                    <a:pt x="29357" y="-355"/>
                    <a:pt x="37875" y="-1852"/>
                    <a:pt x="44053" y="2470"/>
                  </a:cubicBezTo>
                  <a:cubicBezTo>
                    <a:pt x="44086" y="2493"/>
                    <a:pt x="44118" y="2516"/>
                    <a:pt x="44151" y="2539"/>
                  </a:cubicBezTo>
                  <a:lnTo>
                    <a:pt x="94414" y="37993"/>
                  </a:lnTo>
                  <a:cubicBezTo>
                    <a:pt x="108948" y="47727"/>
                    <a:pt x="112826" y="67379"/>
                    <a:pt x="103076" y="81889"/>
                  </a:cubicBezTo>
                  <a:cubicBezTo>
                    <a:pt x="103012" y="81984"/>
                    <a:pt x="102947" y="82079"/>
                    <a:pt x="102882" y="82174"/>
                  </a:cubicBezTo>
                  <a:cubicBezTo>
                    <a:pt x="97189" y="90419"/>
                    <a:pt x="87781" y="95320"/>
                    <a:pt x="77751" y="9526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86" name="Google Shape;1786;g2e37ced3bdd_2_0"/>
          <p:cNvSpPr/>
          <p:nvPr/>
        </p:nvSpPr>
        <p:spPr>
          <a:xfrm>
            <a:off x="9595899" y="1111799"/>
            <a:ext cx="622462" cy="622295"/>
          </a:xfrm>
          <a:custGeom>
            <a:avLst/>
            <a:gdLst/>
            <a:ahLst/>
            <a:cxnLst/>
            <a:rect l="l" t="t" r="r" b="b"/>
            <a:pathLst>
              <a:path w="736641" h="736444" extrusionOk="0">
                <a:moveTo>
                  <a:pt x="356890" y="87611"/>
                </a:moveTo>
                <a:lnTo>
                  <a:pt x="356890" y="15236"/>
                </a:lnTo>
                <a:cubicBezTo>
                  <a:pt x="356890" y="6349"/>
                  <a:pt x="363241" y="0"/>
                  <a:pt x="372131" y="0"/>
                </a:cubicBezTo>
                <a:cubicBezTo>
                  <a:pt x="381022" y="0"/>
                  <a:pt x="387372" y="6349"/>
                  <a:pt x="387372" y="15236"/>
                </a:cubicBezTo>
                <a:lnTo>
                  <a:pt x="387372" y="87611"/>
                </a:lnTo>
                <a:cubicBezTo>
                  <a:pt x="387372" y="96499"/>
                  <a:pt x="381022" y="102848"/>
                  <a:pt x="372131" y="102848"/>
                </a:cubicBezTo>
                <a:cubicBezTo>
                  <a:pt x="363241" y="102848"/>
                  <a:pt x="356890" y="96499"/>
                  <a:pt x="356890" y="87611"/>
                </a:cubicBezTo>
                <a:close/>
                <a:moveTo>
                  <a:pt x="640116" y="115545"/>
                </a:moveTo>
                <a:cubicBezTo>
                  <a:pt x="633766" y="109197"/>
                  <a:pt x="624875" y="109197"/>
                  <a:pt x="618525" y="115545"/>
                </a:cubicBezTo>
                <a:lnTo>
                  <a:pt x="567722" y="166335"/>
                </a:lnTo>
                <a:cubicBezTo>
                  <a:pt x="561372" y="172683"/>
                  <a:pt x="561372" y="181572"/>
                  <a:pt x="567722" y="187920"/>
                </a:cubicBezTo>
                <a:cubicBezTo>
                  <a:pt x="570262" y="190460"/>
                  <a:pt x="574072" y="192999"/>
                  <a:pt x="577883" y="192999"/>
                </a:cubicBezTo>
                <a:cubicBezTo>
                  <a:pt x="581693" y="192999"/>
                  <a:pt x="585503" y="191729"/>
                  <a:pt x="588043" y="187920"/>
                </a:cubicBezTo>
                <a:lnTo>
                  <a:pt x="638846" y="137131"/>
                </a:lnTo>
                <a:cubicBezTo>
                  <a:pt x="646467" y="132052"/>
                  <a:pt x="646467" y="121894"/>
                  <a:pt x="640116" y="115545"/>
                </a:cubicBezTo>
                <a:close/>
                <a:moveTo>
                  <a:pt x="177810" y="189190"/>
                </a:moveTo>
                <a:cubicBezTo>
                  <a:pt x="184160" y="182841"/>
                  <a:pt x="184160" y="173953"/>
                  <a:pt x="177810" y="167604"/>
                </a:cubicBezTo>
                <a:lnTo>
                  <a:pt x="127007" y="116815"/>
                </a:lnTo>
                <a:cubicBezTo>
                  <a:pt x="120657" y="110466"/>
                  <a:pt x="111766" y="110466"/>
                  <a:pt x="105416" y="116815"/>
                </a:cubicBezTo>
                <a:cubicBezTo>
                  <a:pt x="99065" y="123163"/>
                  <a:pt x="99065" y="132052"/>
                  <a:pt x="105416" y="138400"/>
                </a:cubicBezTo>
                <a:lnTo>
                  <a:pt x="156219" y="189190"/>
                </a:lnTo>
                <a:cubicBezTo>
                  <a:pt x="158759" y="191729"/>
                  <a:pt x="162569" y="194269"/>
                  <a:pt x="166379" y="194269"/>
                </a:cubicBezTo>
                <a:cubicBezTo>
                  <a:pt x="170190" y="194269"/>
                  <a:pt x="174000" y="191729"/>
                  <a:pt x="177810" y="189190"/>
                </a:cubicBezTo>
                <a:close/>
                <a:moveTo>
                  <a:pt x="722671" y="297117"/>
                </a:moveTo>
                <a:cubicBezTo>
                  <a:pt x="722671" y="297117"/>
                  <a:pt x="722671" y="297117"/>
                  <a:pt x="722671" y="297117"/>
                </a:cubicBezTo>
                <a:lnTo>
                  <a:pt x="650277" y="298387"/>
                </a:lnTo>
                <a:cubicBezTo>
                  <a:pt x="641386" y="298387"/>
                  <a:pt x="635036" y="306005"/>
                  <a:pt x="635036" y="313623"/>
                </a:cubicBezTo>
                <a:cubicBezTo>
                  <a:pt x="635036" y="322512"/>
                  <a:pt x="641386" y="328860"/>
                  <a:pt x="650277" y="328860"/>
                </a:cubicBezTo>
                <a:cubicBezTo>
                  <a:pt x="650277" y="328860"/>
                  <a:pt x="650277" y="328860"/>
                  <a:pt x="650277" y="328860"/>
                </a:cubicBezTo>
                <a:lnTo>
                  <a:pt x="722671" y="327591"/>
                </a:lnTo>
                <a:cubicBezTo>
                  <a:pt x="731561" y="327591"/>
                  <a:pt x="737912" y="319972"/>
                  <a:pt x="737912" y="312354"/>
                </a:cubicBezTo>
                <a:cubicBezTo>
                  <a:pt x="737912" y="303466"/>
                  <a:pt x="731561" y="297117"/>
                  <a:pt x="722671" y="297117"/>
                </a:cubicBezTo>
                <a:close/>
                <a:moveTo>
                  <a:pt x="87635" y="299657"/>
                </a:moveTo>
                <a:lnTo>
                  <a:pt x="15241" y="300926"/>
                </a:lnTo>
                <a:cubicBezTo>
                  <a:pt x="6350" y="300926"/>
                  <a:pt x="0" y="308545"/>
                  <a:pt x="0" y="316163"/>
                </a:cubicBezTo>
                <a:cubicBezTo>
                  <a:pt x="0" y="325051"/>
                  <a:pt x="6350" y="331400"/>
                  <a:pt x="15241" y="331400"/>
                </a:cubicBezTo>
                <a:cubicBezTo>
                  <a:pt x="15241" y="331400"/>
                  <a:pt x="15241" y="331400"/>
                  <a:pt x="15241" y="331400"/>
                </a:cubicBezTo>
                <a:lnTo>
                  <a:pt x="87635" y="330130"/>
                </a:lnTo>
                <a:cubicBezTo>
                  <a:pt x="96526" y="330130"/>
                  <a:pt x="102876" y="322512"/>
                  <a:pt x="102876" y="314893"/>
                </a:cubicBezTo>
                <a:cubicBezTo>
                  <a:pt x="102876" y="306005"/>
                  <a:pt x="97795" y="298387"/>
                  <a:pt x="87635" y="299657"/>
                </a:cubicBezTo>
                <a:close/>
                <a:moveTo>
                  <a:pt x="580423" y="345367"/>
                </a:moveTo>
                <a:cubicBezTo>
                  <a:pt x="580423" y="406314"/>
                  <a:pt x="553751" y="464722"/>
                  <a:pt x="506759" y="504083"/>
                </a:cubicBezTo>
                <a:cubicBezTo>
                  <a:pt x="480087" y="525669"/>
                  <a:pt x="464846" y="556143"/>
                  <a:pt x="464846" y="586616"/>
                </a:cubicBezTo>
                <a:lnTo>
                  <a:pt x="464846" y="595504"/>
                </a:lnTo>
                <a:cubicBezTo>
                  <a:pt x="464846" y="604392"/>
                  <a:pt x="458496" y="610741"/>
                  <a:pt x="449605" y="610741"/>
                </a:cubicBezTo>
                <a:lnTo>
                  <a:pt x="295927" y="610741"/>
                </a:lnTo>
                <a:cubicBezTo>
                  <a:pt x="287036" y="610741"/>
                  <a:pt x="280686" y="604392"/>
                  <a:pt x="280686" y="595504"/>
                </a:cubicBezTo>
                <a:lnTo>
                  <a:pt x="280686" y="586616"/>
                </a:lnTo>
                <a:cubicBezTo>
                  <a:pt x="280686" y="556143"/>
                  <a:pt x="265445" y="525669"/>
                  <a:pt x="240044" y="505353"/>
                </a:cubicBezTo>
                <a:cubicBezTo>
                  <a:pt x="180350" y="455833"/>
                  <a:pt x="152409" y="377110"/>
                  <a:pt x="170190" y="299657"/>
                </a:cubicBezTo>
                <a:cubicBezTo>
                  <a:pt x="186700" y="222203"/>
                  <a:pt x="250204" y="158717"/>
                  <a:pt x="327678" y="142209"/>
                </a:cubicBezTo>
                <a:cubicBezTo>
                  <a:pt x="389912" y="129512"/>
                  <a:pt x="454686" y="144749"/>
                  <a:pt x="502949" y="184111"/>
                </a:cubicBezTo>
                <a:cubicBezTo>
                  <a:pt x="552481" y="223473"/>
                  <a:pt x="580423" y="281880"/>
                  <a:pt x="580423" y="345367"/>
                </a:cubicBezTo>
                <a:close/>
                <a:moveTo>
                  <a:pt x="549941" y="345367"/>
                </a:moveTo>
                <a:cubicBezTo>
                  <a:pt x="549941" y="292038"/>
                  <a:pt x="525810" y="241249"/>
                  <a:pt x="483897" y="206966"/>
                </a:cubicBezTo>
                <a:cubicBezTo>
                  <a:pt x="441985" y="172683"/>
                  <a:pt x="387372" y="159986"/>
                  <a:pt x="334029" y="171414"/>
                </a:cubicBezTo>
                <a:cubicBezTo>
                  <a:pt x="267985" y="185381"/>
                  <a:pt x="213372" y="238710"/>
                  <a:pt x="199401" y="304736"/>
                </a:cubicBezTo>
                <a:cubicBezTo>
                  <a:pt x="185431" y="372031"/>
                  <a:pt x="207022" y="438058"/>
                  <a:pt x="259095" y="481228"/>
                </a:cubicBezTo>
                <a:cubicBezTo>
                  <a:pt x="289576" y="506623"/>
                  <a:pt x="308627" y="542175"/>
                  <a:pt x="309897" y="580267"/>
                </a:cubicBezTo>
                <a:lnTo>
                  <a:pt x="434364" y="580267"/>
                </a:lnTo>
                <a:cubicBezTo>
                  <a:pt x="436905" y="543445"/>
                  <a:pt x="454686" y="506623"/>
                  <a:pt x="486437" y="481228"/>
                </a:cubicBezTo>
                <a:cubicBezTo>
                  <a:pt x="527080" y="446945"/>
                  <a:pt x="549941" y="397426"/>
                  <a:pt x="549941" y="345367"/>
                </a:cubicBezTo>
                <a:close/>
                <a:moveTo>
                  <a:pt x="449605" y="623438"/>
                </a:moveTo>
                <a:lnTo>
                  <a:pt x="295927" y="623438"/>
                </a:lnTo>
                <a:cubicBezTo>
                  <a:pt x="287036" y="623438"/>
                  <a:pt x="280686" y="629787"/>
                  <a:pt x="280686" y="638675"/>
                </a:cubicBezTo>
                <a:cubicBezTo>
                  <a:pt x="280686" y="647564"/>
                  <a:pt x="287036" y="653912"/>
                  <a:pt x="295927" y="653912"/>
                </a:cubicBezTo>
                <a:lnTo>
                  <a:pt x="449605" y="653912"/>
                </a:lnTo>
                <a:cubicBezTo>
                  <a:pt x="458496" y="653912"/>
                  <a:pt x="464846" y="647564"/>
                  <a:pt x="464846" y="638675"/>
                </a:cubicBezTo>
                <a:cubicBezTo>
                  <a:pt x="464846" y="629787"/>
                  <a:pt x="458496" y="623438"/>
                  <a:pt x="449605" y="623438"/>
                </a:cubicBezTo>
                <a:close/>
                <a:moveTo>
                  <a:pt x="449605" y="665339"/>
                </a:moveTo>
                <a:lnTo>
                  <a:pt x="295927" y="665339"/>
                </a:lnTo>
                <a:cubicBezTo>
                  <a:pt x="287036" y="665339"/>
                  <a:pt x="280686" y="671688"/>
                  <a:pt x="280686" y="680576"/>
                </a:cubicBezTo>
                <a:cubicBezTo>
                  <a:pt x="280686" y="689465"/>
                  <a:pt x="287036" y="695813"/>
                  <a:pt x="295927" y="695813"/>
                </a:cubicBezTo>
                <a:lnTo>
                  <a:pt x="449605" y="695813"/>
                </a:lnTo>
                <a:cubicBezTo>
                  <a:pt x="458496" y="695813"/>
                  <a:pt x="464846" y="689465"/>
                  <a:pt x="464846" y="680576"/>
                </a:cubicBezTo>
                <a:cubicBezTo>
                  <a:pt x="464846" y="671688"/>
                  <a:pt x="458496" y="665339"/>
                  <a:pt x="449605" y="665339"/>
                </a:cubicBezTo>
                <a:close/>
                <a:moveTo>
                  <a:pt x="411503" y="707240"/>
                </a:moveTo>
                <a:lnTo>
                  <a:pt x="334029" y="707240"/>
                </a:lnTo>
                <a:cubicBezTo>
                  <a:pt x="325138" y="707240"/>
                  <a:pt x="318788" y="713589"/>
                  <a:pt x="318788" y="722477"/>
                </a:cubicBezTo>
                <a:cubicBezTo>
                  <a:pt x="318788" y="731366"/>
                  <a:pt x="325138" y="737714"/>
                  <a:pt x="334029" y="737714"/>
                </a:cubicBezTo>
                <a:lnTo>
                  <a:pt x="411503" y="737714"/>
                </a:lnTo>
                <a:cubicBezTo>
                  <a:pt x="420394" y="737714"/>
                  <a:pt x="426744" y="731366"/>
                  <a:pt x="426744" y="722477"/>
                </a:cubicBezTo>
                <a:cubicBezTo>
                  <a:pt x="426744" y="713589"/>
                  <a:pt x="419124" y="707240"/>
                  <a:pt x="411503" y="707240"/>
                </a:cubicBezTo>
                <a:close/>
                <a:moveTo>
                  <a:pt x="375941" y="208236"/>
                </a:moveTo>
                <a:lnTo>
                  <a:pt x="509299" y="300926"/>
                </a:lnTo>
                <a:cubicBezTo>
                  <a:pt x="513109" y="303466"/>
                  <a:pt x="514379" y="307275"/>
                  <a:pt x="515649" y="311084"/>
                </a:cubicBezTo>
                <a:cubicBezTo>
                  <a:pt x="516919" y="314893"/>
                  <a:pt x="515649" y="318703"/>
                  <a:pt x="513109" y="322512"/>
                </a:cubicBezTo>
                <a:lnTo>
                  <a:pt x="485167" y="361874"/>
                </a:lnTo>
                <a:cubicBezTo>
                  <a:pt x="480087" y="368222"/>
                  <a:pt x="471197" y="370761"/>
                  <a:pt x="463576" y="365683"/>
                </a:cubicBezTo>
                <a:cubicBezTo>
                  <a:pt x="455956" y="360604"/>
                  <a:pt x="444525" y="361874"/>
                  <a:pt x="439445" y="369492"/>
                </a:cubicBezTo>
                <a:cubicBezTo>
                  <a:pt x="434364" y="377110"/>
                  <a:pt x="435634" y="388538"/>
                  <a:pt x="443255" y="393617"/>
                </a:cubicBezTo>
                <a:cubicBezTo>
                  <a:pt x="447065" y="396156"/>
                  <a:pt x="448335" y="399966"/>
                  <a:pt x="449605" y="403775"/>
                </a:cubicBezTo>
                <a:cubicBezTo>
                  <a:pt x="450876" y="407584"/>
                  <a:pt x="449605" y="411393"/>
                  <a:pt x="447065" y="415202"/>
                </a:cubicBezTo>
                <a:lnTo>
                  <a:pt x="419124" y="454564"/>
                </a:lnTo>
                <a:cubicBezTo>
                  <a:pt x="416583" y="458373"/>
                  <a:pt x="412773" y="459643"/>
                  <a:pt x="408963" y="460913"/>
                </a:cubicBezTo>
                <a:cubicBezTo>
                  <a:pt x="407693" y="460913"/>
                  <a:pt x="407693" y="460913"/>
                  <a:pt x="406423" y="460913"/>
                </a:cubicBezTo>
                <a:cubicBezTo>
                  <a:pt x="403883" y="460913"/>
                  <a:pt x="400073" y="459643"/>
                  <a:pt x="397532" y="458373"/>
                </a:cubicBezTo>
                <a:lnTo>
                  <a:pt x="368321" y="438058"/>
                </a:lnTo>
                <a:cubicBezTo>
                  <a:pt x="351810" y="449485"/>
                  <a:pt x="330219" y="450755"/>
                  <a:pt x="312438" y="439327"/>
                </a:cubicBezTo>
                <a:cubicBezTo>
                  <a:pt x="302277" y="431709"/>
                  <a:pt x="294656" y="421551"/>
                  <a:pt x="292117" y="408853"/>
                </a:cubicBezTo>
                <a:cubicBezTo>
                  <a:pt x="290846" y="401235"/>
                  <a:pt x="290846" y="393617"/>
                  <a:pt x="293387" y="387268"/>
                </a:cubicBezTo>
                <a:lnTo>
                  <a:pt x="264175" y="366952"/>
                </a:lnTo>
                <a:cubicBezTo>
                  <a:pt x="260365" y="364413"/>
                  <a:pt x="259095" y="360604"/>
                  <a:pt x="257824" y="356794"/>
                </a:cubicBezTo>
                <a:cubicBezTo>
                  <a:pt x="256554" y="352985"/>
                  <a:pt x="257824" y="349176"/>
                  <a:pt x="260365" y="345367"/>
                </a:cubicBezTo>
                <a:lnTo>
                  <a:pt x="353080" y="212045"/>
                </a:lnTo>
                <a:cubicBezTo>
                  <a:pt x="359430" y="204427"/>
                  <a:pt x="368321" y="203157"/>
                  <a:pt x="375941" y="208236"/>
                </a:cubicBezTo>
                <a:close/>
                <a:moveTo>
                  <a:pt x="478817" y="316163"/>
                </a:moveTo>
                <a:lnTo>
                  <a:pt x="370861" y="241249"/>
                </a:lnTo>
                <a:lnTo>
                  <a:pt x="295927" y="349176"/>
                </a:lnTo>
                <a:lnTo>
                  <a:pt x="323868" y="368222"/>
                </a:lnTo>
                <a:cubicBezTo>
                  <a:pt x="327678" y="370761"/>
                  <a:pt x="328949" y="374571"/>
                  <a:pt x="330219" y="378380"/>
                </a:cubicBezTo>
                <a:cubicBezTo>
                  <a:pt x="331489" y="382189"/>
                  <a:pt x="330219" y="385998"/>
                  <a:pt x="327678" y="389807"/>
                </a:cubicBezTo>
                <a:cubicBezTo>
                  <a:pt x="325138" y="393617"/>
                  <a:pt x="323868" y="398696"/>
                  <a:pt x="325138" y="402505"/>
                </a:cubicBezTo>
                <a:cubicBezTo>
                  <a:pt x="326408" y="407584"/>
                  <a:pt x="328949" y="411393"/>
                  <a:pt x="332759" y="413932"/>
                </a:cubicBezTo>
                <a:cubicBezTo>
                  <a:pt x="336569" y="416472"/>
                  <a:pt x="341649" y="417741"/>
                  <a:pt x="345459" y="416472"/>
                </a:cubicBezTo>
                <a:cubicBezTo>
                  <a:pt x="350540" y="415202"/>
                  <a:pt x="354350" y="412663"/>
                  <a:pt x="356890" y="408853"/>
                </a:cubicBezTo>
                <a:cubicBezTo>
                  <a:pt x="359430" y="405044"/>
                  <a:pt x="363241" y="403775"/>
                  <a:pt x="367051" y="402505"/>
                </a:cubicBezTo>
                <a:cubicBezTo>
                  <a:pt x="368321" y="402505"/>
                  <a:pt x="368321" y="402505"/>
                  <a:pt x="369591" y="402505"/>
                </a:cubicBezTo>
                <a:cubicBezTo>
                  <a:pt x="372131" y="402505"/>
                  <a:pt x="375941" y="403775"/>
                  <a:pt x="378481" y="405044"/>
                </a:cubicBezTo>
                <a:lnTo>
                  <a:pt x="406423" y="424090"/>
                </a:lnTo>
                <a:lnTo>
                  <a:pt x="417854" y="407584"/>
                </a:lnTo>
                <a:cubicBezTo>
                  <a:pt x="406423" y="391077"/>
                  <a:pt x="405153" y="369492"/>
                  <a:pt x="416583" y="351715"/>
                </a:cubicBezTo>
                <a:cubicBezTo>
                  <a:pt x="428014" y="333939"/>
                  <a:pt x="449605" y="327591"/>
                  <a:pt x="468656" y="332669"/>
                </a:cubicBezTo>
                <a:lnTo>
                  <a:pt x="478817" y="316163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7" name="Google Shape;1787;g2e37ced3bdd_2_0"/>
          <p:cNvSpPr/>
          <p:nvPr/>
        </p:nvSpPr>
        <p:spPr>
          <a:xfrm>
            <a:off x="6878016" y="1017900"/>
            <a:ext cx="563530" cy="543953"/>
          </a:xfrm>
          <a:custGeom>
            <a:avLst/>
            <a:gdLst/>
            <a:ahLst/>
            <a:cxnLst/>
            <a:rect l="l" t="t" r="r" b="b"/>
            <a:pathLst>
              <a:path w="736641" h="711050" extrusionOk="0">
                <a:moveTo>
                  <a:pt x="722671" y="193701"/>
                </a:moveTo>
                <a:lnTo>
                  <a:pt x="227343" y="193701"/>
                </a:lnTo>
                <a:cubicBezTo>
                  <a:pt x="218452" y="193701"/>
                  <a:pt x="212102" y="200050"/>
                  <a:pt x="212102" y="208937"/>
                </a:cubicBezTo>
                <a:cubicBezTo>
                  <a:pt x="212102" y="217826"/>
                  <a:pt x="218452" y="224175"/>
                  <a:pt x="227343" y="224175"/>
                </a:cubicBezTo>
                <a:lnTo>
                  <a:pt x="707430" y="224175"/>
                </a:lnTo>
                <a:lnTo>
                  <a:pt x="707430" y="690166"/>
                </a:lnTo>
                <a:lnTo>
                  <a:pt x="120657" y="690166"/>
                </a:lnTo>
                <a:cubicBezTo>
                  <a:pt x="69854" y="690166"/>
                  <a:pt x="29211" y="649535"/>
                  <a:pt x="29211" y="598746"/>
                </a:cubicBezTo>
                <a:cubicBezTo>
                  <a:pt x="29211" y="547957"/>
                  <a:pt x="69854" y="507324"/>
                  <a:pt x="120657" y="507324"/>
                </a:cubicBezTo>
                <a:cubicBezTo>
                  <a:pt x="137168" y="507324"/>
                  <a:pt x="152409" y="511134"/>
                  <a:pt x="166379" y="520021"/>
                </a:cubicBezTo>
                <a:cubicBezTo>
                  <a:pt x="166379" y="520021"/>
                  <a:pt x="166379" y="520021"/>
                  <a:pt x="167649" y="520021"/>
                </a:cubicBezTo>
                <a:cubicBezTo>
                  <a:pt x="168919" y="520021"/>
                  <a:pt x="170190" y="521291"/>
                  <a:pt x="170190" y="521291"/>
                </a:cubicBezTo>
                <a:cubicBezTo>
                  <a:pt x="171460" y="521291"/>
                  <a:pt x="171460" y="521291"/>
                  <a:pt x="172730" y="521291"/>
                </a:cubicBezTo>
                <a:cubicBezTo>
                  <a:pt x="172730" y="521291"/>
                  <a:pt x="174000" y="521291"/>
                  <a:pt x="174000" y="521291"/>
                </a:cubicBezTo>
                <a:cubicBezTo>
                  <a:pt x="175270" y="521291"/>
                  <a:pt x="175270" y="521291"/>
                  <a:pt x="176540" y="521291"/>
                </a:cubicBezTo>
                <a:cubicBezTo>
                  <a:pt x="177810" y="521291"/>
                  <a:pt x="177810" y="521291"/>
                  <a:pt x="179080" y="521291"/>
                </a:cubicBezTo>
                <a:cubicBezTo>
                  <a:pt x="180350" y="521291"/>
                  <a:pt x="181620" y="520021"/>
                  <a:pt x="181620" y="520021"/>
                </a:cubicBezTo>
                <a:cubicBezTo>
                  <a:pt x="182890" y="520021"/>
                  <a:pt x="182890" y="518752"/>
                  <a:pt x="184160" y="518752"/>
                </a:cubicBezTo>
                <a:cubicBezTo>
                  <a:pt x="185430" y="517483"/>
                  <a:pt x="185430" y="517483"/>
                  <a:pt x="186701" y="516213"/>
                </a:cubicBezTo>
                <a:cubicBezTo>
                  <a:pt x="186701" y="516213"/>
                  <a:pt x="187970" y="514942"/>
                  <a:pt x="187970" y="514942"/>
                </a:cubicBezTo>
                <a:cubicBezTo>
                  <a:pt x="187970" y="514942"/>
                  <a:pt x="187970" y="513673"/>
                  <a:pt x="187970" y="513673"/>
                </a:cubicBezTo>
                <a:cubicBezTo>
                  <a:pt x="187970" y="512403"/>
                  <a:pt x="189241" y="512403"/>
                  <a:pt x="189241" y="511134"/>
                </a:cubicBezTo>
                <a:cubicBezTo>
                  <a:pt x="189241" y="509865"/>
                  <a:pt x="189241" y="508594"/>
                  <a:pt x="189241" y="508594"/>
                </a:cubicBezTo>
                <a:cubicBezTo>
                  <a:pt x="189241" y="508594"/>
                  <a:pt x="189241" y="508594"/>
                  <a:pt x="189241" y="507324"/>
                </a:cubicBezTo>
                <a:lnTo>
                  <a:pt x="189241" y="22287"/>
                </a:lnTo>
                <a:cubicBezTo>
                  <a:pt x="189241" y="15938"/>
                  <a:pt x="185430" y="10859"/>
                  <a:pt x="179080" y="8320"/>
                </a:cubicBezTo>
                <a:cubicBezTo>
                  <a:pt x="163839" y="3241"/>
                  <a:pt x="124467" y="-8187"/>
                  <a:pt x="78744" y="9590"/>
                </a:cubicBezTo>
                <a:cubicBezTo>
                  <a:pt x="29211" y="28636"/>
                  <a:pt x="0" y="79425"/>
                  <a:pt x="0" y="142912"/>
                </a:cubicBezTo>
                <a:lnTo>
                  <a:pt x="0" y="561923"/>
                </a:lnTo>
                <a:cubicBezTo>
                  <a:pt x="0" y="561923"/>
                  <a:pt x="0" y="561923"/>
                  <a:pt x="0" y="561923"/>
                </a:cubicBezTo>
                <a:lnTo>
                  <a:pt x="0" y="598746"/>
                </a:lnTo>
                <a:cubicBezTo>
                  <a:pt x="0" y="666041"/>
                  <a:pt x="54613" y="720640"/>
                  <a:pt x="121927" y="720640"/>
                </a:cubicBezTo>
                <a:lnTo>
                  <a:pt x="723941" y="720640"/>
                </a:lnTo>
                <a:cubicBezTo>
                  <a:pt x="732831" y="720640"/>
                  <a:pt x="739182" y="714291"/>
                  <a:pt x="739182" y="705402"/>
                </a:cubicBezTo>
                <a:lnTo>
                  <a:pt x="739182" y="210206"/>
                </a:lnTo>
                <a:cubicBezTo>
                  <a:pt x="737912" y="201319"/>
                  <a:pt x="731561" y="193701"/>
                  <a:pt x="722671" y="193701"/>
                </a:cubicBezTo>
                <a:close/>
                <a:moveTo>
                  <a:pt x="90175" y="36254"/>
                </a:moveTo>
                <a:cubicBezTo>
                  <a:pt x="118117" y="26095"/>
                  <a:pt x="143518" y="28636"/>
                  <a:pt x="158759" y="33715"/>
                </a:cubicBezTo>
                <a:lnTo>
                  <a:pt x="158759" y="483199"/>
                </a:lnTo>
                <a:cubicBezTo>
                  <a:pt x="147328" y="479391"/>
                  <a:pt x="134628" y="476850"/>
                  <a:pt x="120657" y="476850"/>
                </a:cubicBezTo>
                <a:cubicBezTo>
                  <a:pt x="83825" y="476850"/>
                  <a:pt x="52073" y="493357"/>
                  <a:pt x="29211" y="518752"/>
                </a:cubicBezTo>
                <a:lnTo>
                  <a:pt x="29211" y="141642"/>
                </a:lnTo>
                <a:cubicBezTo>
                  <a:pt x="29211" y="90853"/>
                  <a:pt x="52073" y="51490"/>
                  <a:pt x="90175" y="36254"/>
                </a:cubicBezTo>
                <a:close/>
                <a:moveTo>
                  <a:pt x="615985" y="283852"/>
                </a:moveTo>
                <a:lnTo>
                  <a:pt x="602014" y="296549"/>
                </a:lnTo>
                <a:lnTo>
                  <a:pt x="614715" y="309246"/>
                </a:lnTo>
                <a:cubicBezTo>
                  <a:pt x="621065" y="315595"/>
                  <a:pt x="621065" y="324482"/>
                  <a:pt x="614715" y="330831"/>
                </a:cubicBezTo>
                <a:cubicBezTo>
                  <a:pt x="612175" y="333371"/>
                  <a:pt x="608364" y="335910"/>
                  <a:pt x="604554" y="335910"/>
                </a:cubicBezTo>
                <a:cubicBezTo>
                  <a:pt x="600744" y="335910"/>
                  <a:pt x="596934" y="334641"/>
                  <a:pt x="594393" y="330831"/>
                </a:cubicBezTo>
                <a:lnTo>
                  <a:pt x="580423" y="316864"/>
                </a:lnTo>
                <a:lnTo>
                  <a:pt x="567722" y="329562"/>
                </a:lnTo>
                <a:cubicBezTo>
                  <a:pt x="565182" y="332102"/>
                  <a:pt x="561372" y="333371"/>
                  <a:pt x="557561" y="333371"/>
                </a:cubicBezTo>
                <a:cubicBezTo>
                  <a:pt x="553751" y="333371"/>
                  <a:pt x="549941" y="332102"/>
                  <a:pt x="547401" y="328292"/>
                </a:cubicBezTo>
                <a:cubicBezTo>
                  <a:pt x="541051" y="321944"/>
                  <a:pt x="541051" y="313056"/>
                  <a:pt x="547401" y="306707"/>
                </a:cubicBezTo>
                <a:lnTo>
                  <a:pt x="560102" y="294010"/>
                </a:lnTo>
                <a:lnTo>
                  <a:pt x="547401" y="281313"/>
                </a:lnTo>
                <a:cubicBezTo>
                  <a:pt x="541051" y="274964"/>
                  <a:pt x="541051" y="266075"/>
                  <a:pt x="547401" y="259726"/>
                </a:cubicBezTo>
                <a:cubicBezTo>
                  <a:pt x="553751" y="253378"/>
                  <a:pt x="562642" y="253378"/>
                  <a:pt x="568992" y="259726"/>
                </a:cubicBezTo>
                <a:lnTo>
                  <a:pt x="581693" y="272424"/>
                </a:lnTo>
                <a:lnTo>
                  <a:pt x="595664" y="258457"/>
                </a:lnTo>
                <a:cubicBezTo>
                  <a:pt x="602014" y="252108"/>
                  <a:pt x="610904" y="252108"/>
                  <a:pt x="617255" y="258457"/>
                </a:cubicBezTo>
                <a:cubicBezTo>
                  <a:pt x="622335" y="268615"/>
                  <a:pt x="622335" y="278772"/>
                  <a:pt x="615985" y="283852"/>
                </a:cubicBezTo>
                <a:close/>
                <a:moveTo>
                  <a:pt x="332759" y="390509"/>
                </a:moveTo>
                <a:lnTo>
                  <a:pt x="318788" y="403207"/>
                </a:lnTo>
                <a:lnTo>
                  <a:pt x="331489" y="415904"/>
                </a:lnTo>
                <a:cubicBezTo>
                  <a:pt x="337839" y="422253"/>
                  <a:pt x="337839" y="431140"/>
                  <a:pt x="331489" y="437489"/>
                </a:cubicBezTo>
                <a:cubicBezTo>
                  <a:pt x="328949" y="440029"/>
                  <a:pt x="325138" y="442568"/>
                  <a:pt x="321328" y="442568"/>
                </a:cubicBezTo>
                <a:cubicBezTo>
                  <a:pt x="317518" y="442568"/>
                  <a:pt x="313708" y="441299"/>
                  <a:pt x="311168" y="437489"/>
                </a:cubicBezTo>
                <a:lnTo>
                  <a:pt x="297197" y="423522"/>
                </a:lnTo>
                <a:lnTo>
                  <a:pt x="284496" y="436219"/>
                </a:lnTo>
                <a:cubicBezTo>
                  <a:pt x="281956" y="438758"/>
                  <a:pt x="278146" y="440029"/>
                  <a:pt x="274335" y="440029"/>
                </a:cubicBezTo>
                <a:cubicBezTo>
                  <a:pt x="270525" y="440029"/>
                  <a:pt x="266715" y="438758"/>
                  <a:pt x="264175" y="434950"/>
                </a:cubicBezTo>
                <a:cubicBezTo>
                  <a:pt x="257824" y="428601"/>
                  <a:pt x="257824" y="419712"/>
                  <a:pt x="264175" y="413364"/>
                </a:cubicBezTo>
                <a:lnTo>
                  <a:pt x="276876" y="400666"/>
                </a:lnTo>
                <a:lnTo>
                  <a:pt x="264175" y="387969"/>
                </a:lnTo>
                <a:cubicBezTo>
                  <a:pt x="257824" y="381620"/>
                  <a:pt x="257824" y="372733"/>
                  <a:pt x="264175" y="366384"/>
                </a:cubicBezTo>
                <a:cubicBezTo>
                  <a:pt x="270525" y="360035"/>
                  <a:pt x="279416" y="360035"/>
                  <a:pt x="285766" y="366384"/>
                </a:cubicBezTo>
                <a:lnTo>
                  <a:pt x="298467" y="379081"/>
                </a:lnTo>
                <a:lnTo>
                  <a:pt x="312438" y="365115"/>
                </a:lnTo>
                <a:cubicBezTo>
                  <a:pt x="318788" y="358766"/>
                  <a:pt x="327678" y="358766"/>
                  <a:pt x="334029" y="365115"/>
                </a:cubicBezTo>
                <a:cubicBezTo>
                  <a:pt x="339109" y="375272"/>
                  <a:pt x="339109" y="384161"/>
                  <a:pt x="332759" y="390509"/>
                </a:cubicBezTo>
                <a:close/>
                <a:moveTo>
                  <a:pt x="651547" y="567002"/>
                </a:moveTo>
                <a:lnTo>
                  <a:pt x="637576" y="580969"/>
                </a:lnTo>
                <a:lnTo>
                  <a:pt x="650277" y="593667"/>
                </a:lnTo>
                <a:cubicBezTo>
                  <a:pt x="656627" y="600015"/>
                  <a:pt x="656627" y="608903"/>
                  <a:pt x="650277" y="615251"/>
                </a:cubicBezTo>
                <a:cubicBezTo>
                  <a:pt x="647737" y="617792"/>
                  <a:pt x="643926" y="620331"/>
                  <a:pt x="640116" y="620331"/>
                </a:cubicBezTo>
                <a:cubicBezTo>
                  <a:pt x="636306" y="620331"/>
                  <a:pt x="632496" y="619061"/>
                  <a:pt x="629956" y="615251"/>
                </a:cubicBezTo>
                <a:lnTo>
                  <a:pt x="615985" y="601285"/>
                </a:lnTo>
                <a:lnTo>
                  <a:pt x="603284" y="613982"/>
                </a:lnTo>
                <a:cubicBezTo>
                  <a:pt x="600744" y="616521"/>
                  <a:pt x="596934" y="617792"/>
                  <a:pt x="593124" y="617792"/>
                </a:cubicBezTo>
                <a:cubicBezTo>
                  <a:pt x="589313" y="617792"/>
                  <a:pt x="585503" y="616521"/>
                  <a:pt x="582963" y="612713"/>
                </a:cubicBezTo>
                <a:cubicBezTo>
                  <a:pt x="576613" y="606364"/>
                  <a:pt x="576613" y="597475"/>
                  <a:pt x="582963" y="591126"/>
                </a:cubicBezTo>
                <a:lnTo>
                  <a:pt x="595664" y="578429"/>
                </a:lnTo>
                <a:lnTo>
                  <a:pt x="582963" y="565732"/>
                </a:lnTo>
                <a:cubicBezTo>
                  <a:pt x="576613" y="559383"/>
                  <a:pt x="576613" y="550495"/>
                  <a:pt x="582963" y="544147"/>
                </a:cubicBezTo>
                <a:cubicBezTo>
                  <a:pt x="589313" y="537798"/>
                  <a:pt x="598204" y="537798"/>
                  <a:pt x="604554" y="544147"/>
                </a:cubicBezTo>
                <a:lnTo>
                  <a:pt x="617255" y="556844"/>
                </a:lnTo>
                <a:lnTo>
                  <a:pt x="631226" y="542877"/>
                </a:lnTo>
                <a:cubicBezTo>
                  <a:pt x="637576" y="536529"/>
                  <a:pt x="646467" y="536529"/>
                  <a:pt x="652817" y="542877"/>
                </a:cubicBezTo>
                <a:cubicBezTo>
                  <a:pt x="657897" y="551765"/>
                  <a:pt x="657897" y="561923"/>
                  <a:pt x="651547" y="567002"/>
                </a:cubicBezTo>
                <a:close/>
                <a:moveTo>
                  <a:pt x="237503" y="620331"/>
                </a:moveTo>
                <a:cubicBezTo>
                  <a:pt x="254014" y="620331"/>
                  <a:pt x="267985" y="610172"/>
                  <a:pt x="274335" y="596205"/>
                </a:cubicBezTo>
                <a:lnTo>
                  <a:pt x="368321" y="596205"/>
                </a:lnTo>
                <a:cubicBezTo>
                  <a:pt x="415313" y="596205"/>
                  <a:pt x="454686" y="558113"/>
                  <a:pt x="454686" y="509865"/>
                </a:cubicBezTo>
                <a:cubicBezTo>
                  <a:pt x="454686" y="479391"/>
                  <a:pt x="480087" y="453996"/>
                  <a:pt x="510569" y="453996"/>
                </a:cubicBezTo>
                <a:lnTo>
                  <a:pt x="568992" y="453996"/>
                </a:lnTo>
                <a:cubicBezTo>
                  <a:pt x="575342" y="467963"/>
                  <a:pt x="589313" y="478121"/>
                  <a:pt x="605824" y="478121"/>
                </a:cubicBezTo>
                <a:cubicBezTo>
                  <a:pt x="627415" y="478121"/>
                  <a:pt x="645196" y="460345"/>
                  <a:pt x="645196" y="438758"/>
                </a:cubicBezTo>
                <a:cubicBezTo>
                  <a:pt x="645196" y="417173"/>
                  <a:pt x="627415" y="399397"/>
                  <a:pt x="605824" y="399397"/>
                </a:cubicBezTo>
                <a:cubicBezTo>
                  <a:pt x="589313" y="399397"/>
                  <a:pt x="575342" y="409555"/>
                  <a:pt x="568992" y="423522"/>
                </a:cubicBezTo>
                <a:lnTo>
                  <a:pt x="510569" y="423522"/>
                </a:lnTo>
                <a:cubicBezTo>
                  <a:pt x="463576" y="423522"/>
                  <a:pt x="424204" y="461614"/>
                  <a:pt x="424204" y="509865"/>
                </a:cubicBezTo>
                <a:cubicBezTo>
                  <a:pt x="424204" y="540337"/>
                  <a:pt x="398802" y="565732"/>
                  <a:pt x="368321" y="565732"/>
                </a:cubicBezTo>
                <a:lnTo>
                  <a:pt x="274335" y="565732"/>
                </a:lnTo>
                <a:cubicBezTo>
                  <a:pt x="267985" y="551765"/>
                  <a:pt x="254014" y="541608"/>
                  <a:pt x="237503" y="541608"/>
                </a:cubicBezTo>
                <a:cubicBezTo>
                  <a:pt x="215912" y="541608"/>
                  <a:pt x="198131" y="559383"/>
                  <a:pt x="198131" y="580969"/>
                </a:cubicBezTo>
                <a:cubicBezTo>
                  <a:pt x="198131" y="602554"/>
                  <a:pt x="215912" y="620331"/>
                  <a:pt x="237503" y="620331"/>
                </a:cubicBezTo>
                <a:close/>
                <a:moveTo>
                  <a:pt x="605824" y="429871"/>
                </a:moveTo>
                <a:cubicBezTo>
                  <a:pt x="610904" y="429871"/>
                  <a:pt x="614715" y="433681"/>
                  <a:pt x="614715" y="438758"/>
                </a:cubicBezTo>
                <a:cubicBezTo>
                  <a:pt x="614715" y="443838"/>
                  <a:pt x="610904" y="447647"/>
                  <a:pt x="605824" y="447647"/>
                </a:cubicBezTo>
                <a:cubicBezTo>
                  <a:pt x="600744" y="447647"/>
                  <a:pt x="596934" y="443838"/>
                  <a:pt x="596934" y="438758"/>
                </a:cubicBezTo>
                <a:cubicBezTo>
                  <a:pt x="596934" y="433681"/>
                  <a:pt x="600744" y="429871"/>
                  <a:pt x="605824" y="429871"/>
                </a:cubicBezTo>
                <a:close/>
                <a:moveTo>
                  <a:pt x="237503" y="572080"/>
                </a:moveTo>
                <a:cubicBezTo>
                  <a:pt x="242584" y="572080"/>
                  <a:pt x="246394" y="575890"/>
                  <a:pt x="246394" y="580969"/>
                </a:cubicBezTo>
                <a:cubicBezTo>
                  <a:pt x="246394" y="586048"/>
                  <a:pt x="242584" y="589857"/>
                  <a:pt x="237503" y="589857"/>
                </a:cubicBezTo>
                <a:cubicBezTo>
                  <a:pt x="232423" y="589857"/>
                  <a:pt x="228613" y="586048"/>
                  <a:pt x="228613" y="580969"/>
                </a:cubicBezTo>
                <a:cubicBezTo>
                  <a:pt x="228613" y="575890"/>
                  <a:pt x="232423" y="572080"/>
                  <a:pt x="237503" y="5720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788" name="Google Shape;1788;g2e37ced3bdd_2_0"/>
          <p:cNvGrpSpPr/>
          <p:nvPr/>
        </p:nvGrpSpPr>
        <p:grpSpPr>
          <a:xfrm>
            <a:off x="5721500" y="2769548"/>
            <a:ext cx="556992" cy="505453"/>
            <a:chOff x="4524782" y="23674656"/>
            <a:chExt cx="312180" cy="283294"/>
          </a:xfrm>
        </p:grpSpPr>
        <p:sp>
          <p:nvSpPr>
            <p:cNvPr id="1789" name="Google Shape;1789;g2e37ced3bdd_2_0"/>
            <p:cNvSpPr/>
            <p:nvPr/>
          </p:nvSpPr>
          <p:spPr>
            <a:xfrm>
              <a:off x="4524782" y="23830962"/>
              <a:ext cx="312180" cy="126988"/>
            </a:xfrm>
            <a:custGeom>
              <a:avLst/>
              <a:gdLst/>
              <a:ahLst/>
              <a:cxnLst/>
              <a:rect l="l" t="t" r="r" b="b"/>
              <a:pathLst>
                <a:path w="312180" h="126988" extrusionOk="0">
                  <a:moveTo>
                    <a:pt x="312710" y="61908"/>
                  </a:moveTo>
                  <a:lnTo>
                    <a:pt x="293661" y="42859"/>
                  </a:lnTo>
                  <a:cubicBezTo>
                    <a:pt x="285195" y="34393"/>
                    <a:pt x="272496" y="31747"/>
                    <a:pt x="260856" y="35982"/>
                  </a:cubicBezTo>
                  <a:lnTo>
                    <a:pt x="210060" y="55030"/>
                  </a:lnTo>
                  <a:lnTo>
                    <a:pt x="194716" y="37568"/>
                  </a:lnTo>
                  <a:cubicBezTo>
                    <a:pt x="189954" y="32277"/>
                    <a:pt x="183075" y="28574"/>
                    <a:pt x="176197" y="28045"/>
                  </a:cubicBezTo>
                  <a:lnTo>
                    <a:pt x="72489" y="15874"/>
                  </a:lnTo>
                  <a:lnTo>
                    <a:pt x="73548" y="7410"/>
                  </a:lnTo>
                  <a:cubicBezTo>
                    <a:pt x="74077" y="5291"/>
                    <a:pt x="73019" y="3705"/>
                    <a:pt x="71960" y="2119"/>
                  </a:cubicBezTo>
                  <a:cubicBezTo>
                    <a:pt x="70902" y="530"/>
                    <a:pt x="68785" y="0"/>
                    <a:pt x="67198" y="0"/>
                  </a:cubicBezTo>
                  <a:lnTo>
                    <a:pt x="6349" y="0"/>
                  </a:lnTo>
                  <a:cubicBezTo>
                    <a:pt x="2646" y="0"/>
                    <a:pt x="0" y="2646"/>
                    <a:pt x="0" y="6350"/>
                  </a:cubicBezTo>
                  <a:lnTo>
                    <a:pt x="0" y="111645"/>
                  </a:lnTo>
                  <a:cubicBezTo>
                    <a:pt x="0" y="115350"/>
                    <a:pt x="2646" y="117995"/>
                    <a:pt x="6349" y="117995"/>
                  </a:cubicBezTo>
                  <a:lnTo>
                    <a:pt x="52383" y="117995"/>
                  </a:lnTo>
                  <a:cubicBezTo>
                    <a:pt x="55557" y="117995"/>
                    <a:pt x="58203" y="115879"/>
                    <a:pt x="58732" y="112174"/>
                  </a:cubicBezTo>
                  <a:lnTo>
                    <a:pt x="59791" y="105297"/>
                  </a:lnTo>
                  <a:lnTo>
                    <a:pt x="146037" y="130164"/>
                  </a:lnTo>
                  <a:cubicBezTo>
                    <a:pt x="149212" y="131223"/>
                    <a:pt x="152916" y="131753"/>
                    <a:pt x="156090" y="131753"/>
                  </a:cubicBezTo>
                  <a:cubicBezTo>
                    <a:pt x="160852" y="131753"/>
                    <a:pt x="165615" y="130693"/>
                    <a:pt x="169847" y="129107"/>
                  </a:cubicBezTo>
                  <a:lnTo>
                    <a:pt x="310593" y="72490"/>
                  </a:lnTo>
                  <a:cubicBezTo>
                    <a:pt x="312710" y="71431"/>
                    <a:pt x="314297" y="69845"/>
                    <a:pt x="314297" y="67729"/>
                  </a:cubicBezTo>
                  <a:cubicBezTo>
                    <a:pt x="315355" y="65613"/>
                    <a:pt x="314297" y="63494"/>
                    <a:pt x="312710" y="61908"/>
                  </a:cubicBezTo>
                  <a:close/>
                  <a:moveTo>
                    <a:pt x="12699" y="105297"/>
                  </a:moveTo>
                  <a:lnTo>
                    <a:pt x="12699" y="12701"/>
                  </a:lnTo>
                  <a:lnTo>
                    <a:pt x="59791" y="12701"/>
                  </a:lnTo>
                  <a:lnTo>
                    <a:pt x="46563" y="105297"/>
                  </a:lnTo>
                  <a:lnTo>
                    <a:pt x="12699" y="105297"/>
                  </a:lnTo>
                  <a:close/>
                  <a:moveTo>
                    <a:pt x="165085" y="116936"/>
                  </a:moveTo>
                  <a:cubicBezTo>
                    <a:pt x="160323" y="119052"/>
                    <a:pt x="154503" y="119052"/>
                    <a:pt x="149212" y="117995"/>
                  </a:cubicBezTo>
                  <a:lnTo>
                    <a:pt x="61378" y="93125"/>
                  </a:lnTo>
                  <a:lnTo>
                    <a:pt x="70373" y="29102"/>
                  </a:lnTo>
                  <a:lnTo>
                    <a:pt x="174609" y="41273"/>
                  </a:lnTo>
                  <a:cubicBezTo>
                    <a:pt x="178842" y="41802"/>
                    <a:pt x="182546" y="43389"/>
                    <a:pt x="185192" y="46564"/>
                  </a:cubicBezTo>
                  <a:lnTo>
                    <a:pt x="197362" y="60322"/>
                  </a:lnTo>
                  <a:lnTo>
                    <a:pt x="165615" y="71961"/>
                  </a:lnTo>
                  <a:cubicBezTo>
                    <a:pt x="160323" y="74077"/>
                    <a:pt x="154503" y="74077"/>
                    <a:pt x="149212" y="72490"/>
                  </a:cubicBezTo>
                  <a:lnTo>
                    <a:pt x="114290" y="60849"/>
                  </a:lnTo>
                  <a:cubicBezTo>
                    <a:pt x="111115" y="59792"/>
                    <a:pt x="107411" y="61378"/>
                    <a:pt x="106353" y="65083"/>
                  </a:cubicBezTo>
                  <a:cubicBezTo>
                    <a:pt x="105295" y="68258"/>
                    <a:pt x="106882" y="71961"/>
                    <a:pt x="110586" y="73020"/>
                  </a:cubicBezTo>
                  <a:lnTo>
                    <a:pt x="145508" y="84659"/>
                  </a:lnTo>
                  <a:cubicBezTo>
                    <a:pt x="153445" y="87305"/>
                    <a:pt x="162440" y="87305"/>
                    <a:pt x="170376" y="84132"/>
                  </a:cubicBezTo>
                  <a:lnTo>
                    <a:pt x="211119" y="68785"/>
                  </a:lnTo>
                  <a:lnTo>
                    <a:pt x="211119" y="68785"/>
                  </a:lnTo>
                  <a:lnTo>
                    <a:pt x="266147" y="48150"/>
                  </a:lnTo>
                  <a:cubicBezTo>
                    <a:pt x="272496" y="45505"/>
                    <a:pt x="279904" y="47094"/>
                    <a:pt x="285195" y="52385"/>
                  </a:cubicBezTo>
                  <a:lnTo>
                    <a:pt x="297365" y="64554"/>
                  </a:lnTo>
                  <a:lnTo>
                    <a:pt x="165085" y="116936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0" name="Google Shape;1790;g2e37ced3bdd_2_0"/>
            <p:cNvSpPr/>
            <p:nvPr/>
          </p:nvSpPr>
          <p:spPr>
            <a:xfrm>
              <a:off x="4621505" y="23674656"/>
              <a:ext cx="116406" cy="132279"/>
            </a:xfrm>
            <a:custGeom>
              <a:avLst/>
              <a:gdLst/>
              <a:ahLst/>
              <a:cxnLst/>
              <a:rect l="l" t="t" r="r" b="b"/>
              <a:pathLst>
                <a:path w="116406" h="132279" extrusionOk="0">
                  <a:moveTo>
                    <a:pt x="21800" y="107127"/>
                  </a:moveTo>
                  <a:cubicBezTo>
                    <a:pt x="28678" y="112419"/>
                    <a:pt x="32382" y="120355"/>
                    <a:pt x="32382" y="128292"/>
                  </a:cubicBezTo>
                  <a:lnTo>
                    <a:pt x="32382" y="130938"/>
                  </a:lnTo>
                  <a:cubicBezTo>
                    <a:pt x="32382" y="134640"/>
                    <a:pt x="35028" y="137286"/>
                    <a:pt x="38732" y="137286"/>
                  </a:cubicBezTo>
                  <a:lnTo>
                    <a:pt x="82120" y="137286"/>
                  </a:lnTo>
                  <a:cubicBezTo>
                    <a:pt x="85823" y="137286"/>
                    <a:pt x="88469" y="134640"/>
                    <a:pt x="88469" y="130938"/>
                  </a:cubicBezTo>
                  <a:lnTo>
                    <a:pt x="88469" y="128292"/>
                  </a:lnTo>
                  <a:cubicBezTo>
                    <a:pt x="88469" y="120355"/>
                    <a:pt x="92173" y="112419"/>
                    <a:pt x="99051" y="106598"/>
                  </a:cubicBezTo>
                  <a:cubicBezTo>
                    <a:pt x="112808" y="94956"/>
                    <a:pt x="120745" y="78026"/>
                    <a:pt x="120745" y="60563"/>
                  </a:cubicBezTo>
                  <a:cubicBezTo>
                    <a:pt x="120745" y="42044"/>
                    <a:pt x="112808" y="25114"/>
                    <a:pt x="98522" y="13472"/>
                  </a:cubicBezTo>
                  <a:cubicBezTo>
                    <a:pt x="84236" y="1833"/>
                    <a:pt x="65717" y="-2401"/>
                    <a:pt x="47198" y="1304"/>
                  </a:cubicBezTo>
                  <a:cubicBezTo>
                    <a:pt x="24445" y="6065"/>
                    <a:pt x="5926" y="24584"/>
                    <a:pt x="1164" y="46808"/>
                  </a:cubicBezTo>
                  <a:cubicBezTo>
                    <a:pt x="-3069" y="69559"/>
                    <a:pt x="4339" y="92840"/>
                    <a:pt x="21800" y="107127"/>
                  </a:cubicBezTo>
                  <a:close/>
                  <a:moveTo>
                    <a:pt x="14392" y="49981"/>
                  </a:moveTo>
                  <a:cubicBezTo>
                    <a:pt x="18096" y="32521"/>
                    <a:pt x="32911" y="18234"/>
                    <a:pt x="50372" y="14002"/>
                  </a:cubicBezTo>
                  <a:cubicBezTo>
                    <a:pt x="64658" y="10827"/>
                    <a:pt x="79474" y="14531"/>
                    <a:pt x="90585" y="23525"/>
                  </a:cubicBezTo>
                  <a:cubicBezTo>
                    <a:pt x="101697" y="32521"/>
                    <a:pt x="108046" y="46279"/>
                    <a:pt x="108046" y="60563"/>
                  </a:cubicBezTo>
                  <a:cubicBezTo>
                    <a:pt x="108046" y="74851"/>
                    <a:pt x="101697" y="88079"/>
                    <a:pt x="91114" y="97075"/>
                  </a:cubicBezTo>
                  <a:cubicBezTo>
                    <a:pt x="82649" y="104482"/>
                    <a:pt x="76828" y="114005"/>
                    <a:pt x="75770" y="124587"/>
                  </a:cubicBezTo>
                  <a:lnTo>
                    <a:pt x="45081" y="124587"/>
                  </a:lnTo>
                  <a:cubicBezTo>
                    <a:pt x="44023" y="114005"/>
                    <a:pt x="38732" y="104482"/>
                    <a:pt x="30266" y="97602"/>
                  </a:cubicBezTo>
                  <a:cubicBezTo>
                    <a:pt x="16509" y="85433"/>
                    <a:pt x="10159" y="67973"/>
                    <a:pt x="14392" y="499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g2e37ced3bdd_2_0"/>
            <p:cNvSpPr/>
            <p:nvPr/>
          </p:nvSpPr>
          <p:spPr>
            <a:xfrm>
              <a:off x="4653888" y="23815647"/>
              <a:ext cx="52911" cy="10582"/>
            </a:xfrm>
            <a:custGeom>
              <a:avLst/>
              <a:gdLst/>
              <a:ahLst/>
              <a:cxnLst/>
              <a:rect l="l" t="t" r="r" b="b"/>
              <a:pathLst>
                <a:path w="52911" h="10582" extrusionOk="0">
                  <a:moveTo>
                    <a:pt x="49737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50"/>
                  </a:cubicBezTo>
                  <a:cubicBezTo>
                    <a:pt x="0" y="10053"/>
                    <a:pt x="2646" y="12698"/>
                    <a:pt x="6349" y="12698"/>
                  </a:cubicBezTo>
                  <a:lnTo>
                    <a:pt x="49737" y="12698"/>
                  </a:lnTo>
                  <a:cubicBezTo>
                    <a:pt x="53441" y="12698"/>
                    <a:pt x="56086" y="10053"/>
                    <a:pt x="56086" y="6350"/>
                  </a:cubicBezTo>
                  <a:cubicBezTo>
                    <a:pt x="56086" y="2646"/>
                    <a:pt x="53441" y="0"/>
                    <a:pt x="4973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2" name="Google Shape;1792;g2e37ced3bdd_2_0"/>
            <p:cNvSpPr/>
            <p:nvPr/>
          </p:nvSpPr>
          <p:spPr>
            <a:xfrm>
              <a:off x="4653888" y="23833106"/>
              <a:ext cx="52911" cy="10582"/>
            </a:xfrm>
            <a:custGeom>
              <a:avLst/>
              <a:gdLst/>
              <a:ahLst/>
              <a:cxnLst/>
              <a:rect l="l" t="t" r="r" b="b"/>
              <a:pathLst>
                <a:path w="52911" h="10582" extrusionOk="0">
                  <a:moveTo>
                    <a:pt x="56086" y="6350"/>
                  </a:moveTo>
                  <a:cubicBezTo>
                    <a:pt x="56086" y="2646"/>
                    <a:pt x="53441" y="0"/>
                    <a:pt x="49737" y="0"/>
                  </a:cubicBezTo>
                  <a:lnTo>
                    <a:pt x="6349" y="0"/>
                  </a:lnTo>
                  <a:cubicBezTo>
                    <a:pt x="2646" y="0"/>
                    <a:pt x="0" y="2646"/>
                    <a:pt x="0" y="6350"/>
                  </a:cubicBezTo>
                  <a:cubicBezTo>
                    <a:pt x="0" y="10055"/>
                    <a:pt x="2646" y="12701"/>
                    <a:pt x="6349" y="12701"/>
                  </a:cubicBezTo>
                  <a:lnTo>
                    <a:pt x="49737" y="12701"/>
                  </a:lnTo>
                  <a:cubicBezTo>
                    <a:pt x="53441" y="12701"/>
                    <a:pt x="56086" y="10055"/>
                    <a:pt x="56086" y="635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3" name="Google Shape;1793;g2e37ced3bdd_2_0"/>
            <p:cNvSpPr/>
            <p:nvPr/>
          </p:nvSpPr>
          <p:spPr>
            <a:xfrm>
              <a:off x="4664999" y="23850569"/>
              <a:ext cx="31747" cy="10582"/>
            </a:xfrm>
            <a:custGeom>
              <a:avLst/>
              <a:gdLst/>
              <a:ahLst/>
              <a:cxnLst/>
              <a:rect l="l" t="t" r="r" b="b"/>
              <a:pathLst>
                <a:path w="31747" h="10582" extrusionOk="0">
                  <a:moveTo>
                    <a:pt x="6349" y="0"/>
                  </a:moveTo>
                  <a:cubicBezTo>
                    <a:pt x="2646" y="0"/>
                    <a:pt x="0" y="2646"/>
                    <a:pt x="0" y="6348"/>
                  </a:cubicBezTo>
                  <a:cubicBezTo>
                    <a:pt x="0" y="10053"/>
                    <a:pt x="2646" y="12698"/>
                    <a:pt x="6349" y="12698"/>
                  </a:cubicBezTo>
                  <a:lnTo>
                    <a:pt x="28044" y="12698"/>
                  </a:lnTo>
                  <a:cubicBezTo>
                    <a:pt x="31747" y="12698"/>
                    <a:pt x="34393" y="10053"/>
                    <a:pt x="34393" y="6348"/>
                  </a:cubicBezTo>
                  <a:cubicBezTo>
                    <a:pt x="34393" y="2646"/>
                    <a:pt x="31747" y="0"/>
                    <a:pt x="28044" y="0"/>
                  </a:cubicBezTo>
                  <a:lnTo>
                    <a:pt x="634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4" name="Google Shape;1794;g2e37ced3bdd_2_0"/>
          <p:cNvSpPr/>
          <p:nvPr/>
        </p:nvSpPr>
        <p:spPr>
          <a:xfrm>
            <a:off x="6910500" y="4561368"/>
            <a:ext cx="570040" cy="693535"/>
          </a:xfrm>
          <a:custGeom>
            <a:avLst/>
            <a:gdLst/>
            <a:ahLst/>
            <a:cxnLst/>
            <a:rect l="l" t="t" r="r" b="b"/>
            <a:pathLst>
              <a:path w="131119" h="159525" extrusionOk="0">
                <a:moveTo>
                  <a:pt x="123248" y="63558"/>
                </a:moveTo>
                <a:cubicBezTo>
                  <a:pt x="120497" y="55858"/>
                  <a:pt x="118021" y="48709"/>
                  <a:pt x="117196" y="44309"/>
                </a:cubicBezTo>
                <a:cubicBezTo>
                  <a:pt x="115546" y="31660"/>
                  <a:pt x="94642" y="1412"/>
                  <a:pt x="61910" y="38"/>
                </a:cubicBezTo>
                <a:cubicBezTo>
                  <a:pt x="46233" y="-512"/>
                  <a:pt x="31105" y="4987"/>
                  <a:pt x="19827" y="15711"/>
                </a:cubicBezTo>
                <a:cubicBezTo>
                  <a:pt x="7450" y="27261"/>
                  <a:pt x="574" y="44034"/>
                  <a:pt x="23" y="62458"/>
                </a:cubicBezTo>
                <a:cubicBezTo>
                  <a:pt x="-802" y="96006"/>
                  <a:pt x="20377" y="115804"/>
                  <a:pt x="26154" y="120204"/>
                </a:cubicBezTo>
                <a:lnTo>
                  <a:pt x="26154" y="156226"/>
                </a:lnTo>
                <a:cubicBezTo>
                  <a:pt x="26154" y="158151"/>
                  <a:pt x="27529" y="159526"/>
                  <a:pt x="29454" y="159526"/>
                </a:cubicBezTo>
                <a:lnTo>
                  <a:pt x="92166" y="159526"/>
                </a:lnTo>
                <a:cubicBezTo>
                  <a:pt x="94092" y="159526"/>
                  <a:pt x="95467" y="158151"/>
                  <a:pt x="95467" y="156226"/>
                </a:cubicBezTo>
                <a:lnTo>
                  <a:pt x="95467" y="132028"/>
                </a:lnTo>
                <a:lnTo>
                  <a:pt x="110045" y="131478"/>
                </a:lnTo>
                <a:cubicBezTo>
                  <a:pt x="113071" y="131203"/>
                  <a:pt x="115821" y="129828"/>
                  <a:pt x="117746" y="127353"/>
                </a:cubicBezTo>
                <a:cubicBezTo>
                  <a:pt x="123248" y="120479"/>
                  <a:pt x="122147" y="105630"/>
                  <a:pt x="121322" y="98755"/>
                </a:cubicBezTo>
                <a:lnTo>
                  <a:pt x="128198" y="97930"/>
                </a:lnTo>
                <a:cubicBezTo>
                  <a:pt x="129574" y="97655"/>
                  <a:pt x="130949" y="96555"/>
                  <a:pt x="130949" y="95181"/>
                </a:cubicBezTo>
                <a:cubicBezTo>
                  <a:pt x="132049" y="88031"/>
                  <a:pt x="127648" y="75657"/>
                  <a:pt x="123248" y="63558"/>
                </a:cubicBezTo>
                <a:close/>
                <a:moveTo>
                  <a:pt x="117196" y="92981"/>
                </a:moveTo>
                <a:cubicBezTo>
                  <a:pt x="116371" y="92981"/>
                  <a:pt x="115546" y="93531"/>
                  <a:pt x="114996" y="94356"/>
                </a:cubicBezTo>
                <a:cubicBezTo>
                  <a:pt x="114446" y="95181"/>
                  <a:pt x="114171" y="96006"/>
                  <a:pt x="114446" y="96830"/>
                </a:cubicBezTo>
                <a:cubicBezTo>
                  <a:pt x="115821" y="104530"/>
                  <a:pt x="116371" y="118829"/>
                  <a:pt x="112520" y="123779"/>
                </a:cubicBezTo>
                <a:cubicBezTo>
                  <a:pt x="111695" y="124878"/>
                  <a:pt x="110870" y="125153"/>
                  <a:pt x="109770" y="125428"/>
                </a:cubicBezTo>
                <a:lnTo>
                  <a:pt x="92166" y="126253"/>
                </a:lnTo>
                <a:cubicBezTo>
                  <a:pt x="90516" y="126253"/>
                  <a:pt x="89141" y="127903"/>
                  <a:pt x="89141" y="129553"/>
                </a:cubicBezTo>
                <a:lnTo>
                  <a:pt x="89141" y="153751"/>
                </a:lnTo>
                <a:lnTo>
                  <a:pt x="32755" y="153751"/>
                </a:lnTo>
                <a:lnTo>
                  <a:pt x="32755" y="119104"/>
                </a:lnTo>
                <a:cubicBezTo>
                  <a:pt x="32755" y="118004"/>
                  <a:pt x="32205" y="117179"/>
                  <a:pt x="31380" y="116354"/>
                </a:cubicBezTo>
                <a:cubicBezTo>
                  <a:pt x="31105" y="116079"/>
                  <a:pt x="5800" y="97380"/>
                  <a:pt x="6625" y="63008"/>
                </a:cubicBezTo>
                <a:cubicBezTo>
                  <a:pt x="6900" y="46234"/>
                  <a:pt x="13226" y="31385"/>
                  <a:pt x="24228" y="20936"/>
                </a:cubicBezTo>
                <a:cubicBezTo>
                  <a:pt x="34405" y="11312"/>
                  <a:pt x="47608" y="6362"/>
                  <a:pt x="61636" y="6912"/>
                </a:cubicBezTo>
                <a:cubicBezTo>
                  <a:pt x="90516" y="8012"/>
                  <a:pt x="109495" y="35785"/>
                  <a:pt x="110595" y="45409"/>
                </a:cubicBezTo>
                <a:cubicBezTo>
                  <a:pt x="111145" y="50634"/>
                  <a:pt x="113896" y="58058"/>
                  <a:pt x="116921" y="66033"/>
                </a:cubicBezTo>
                <a:cubicBezTo>
                  <a:pt x="120222" y="75382"/>
                  <a:pt x="124073" y="85831"/>
                  <a:pt x="124348" y="92431"/>
                </a:cubicBezTo>
                <a:lnTo>
                  <a:pt x="117196" y="92981"/>
                </a:lnTo>
                <a:close/>
                <a:moveTo>
                  <a:pt x="96017" y="30560"/>
                </a:moveTo>
                <a:lnTo>
                  <a:pt x="96567" y="42109"/>
                </a:lnTo>
                <a:cubicBezTo>
                  <a:pt x="96567" y="43759"/>
                  <a:pt x="95467" y="45134"/>
                  <a:pt x="93817" y="45409"/>
                </a:cubicBezTo>
                <a:lnTo>
                  <a:pt x="89416" y="46234"/>
                </a:lnTo>
                <a:lnTo>
                  <a:pt x="87766" y="51459"/>
                </a:lnTo>
                <a:lnTo>
                  <a:pt x="89691" y="54759"/>
                </a:lnTo>
                <a:cubicBezTo>
                  <a:pt x="90516" y="56133"/>
                  <a:pt x="90241" y="57783"/>
                  <a:pt x="89141" y="58883"/>
                </a:cubicBezTo>
                <a:lnTo>
                  <a:pt x="80889" y="66858"/>
                </a:lnTo>
                <a:cubicBezTo>
                  <a:pt x="79789" y="67958"/>
                  <a:pt x="78139" y="67958"/>
                  <a:pt x="77038" y="67408"/>
                </a:cubicBezTo>
                <a:lnTo>
                  <a:pt x="73738" y="65483"/>
                </a:lnTo>
                <a:lnTo>
                  <a:pt x="68787" y="67408"/>
                </a:lnTo>
                <a:lnTo>
                  <a:pt x="67962" y="71257"/>
                </a:lnTo>
                <a:cubicBezTo>
                  <a:pt x="67687" y="72632"/>
                  <a:pt x="66311" y="73732"/>
                  <a:pt x="64661" y="73732"/>
                </a:cubicBezTo>
                <a:lnTo>
                  <a:pt x="52284" y="73732"/>
                </a:lnTo>
                <a:cubicBezTo>
                  <a:pt x="50908" y="73732"/>
                  <a:pt x="49533" y="72632"/>
                  <a:pt x="48983" y="71257"/>
                </a:cubicBezTo>
                <a:lnTo>
                  <a:pt x="47883" y="67408"/>
                </a:lnTo>
                <a:lnTo>
                  <a:pt x="43482" y="65483"/>
                </a:lnTo>
                <a:lnTo>
                  <a:pt x="39631" y="67408"/>
                </a:lnTo>
                <a:cubicBezTo>
                  <a:pt x="38531" y="67958"/>
                  <a:pt x="36881" y="67958"/>
                  <a:pt x="35780" y="66858"/>
                </a:cubicBezTo>
                <a:lnTo>
                  <a:pt x="27529" y="59158"/>
                </a:lnTo>
                <a:cubicBezTo>
                  <a:pt x="26429" y="58333"/>
                  <a:pt x="26154" y="56683"/>
                  <a:pt x="26704" y="55583"/>
                </a:cubicBezTo>
                <a:lnTo>
                  <a:pt x="28354" y="51459"/>
                </a:lnTo>
                <a:lnTo>
                  <a:pt x="26979" y="46509"/>
                </a:lnTo>
                <a:lnTo>
                  <a:pt x="23403" y="45684"/>
                </a:lnTo>
                <a:cubicBezTo>
                  <a:pt x="21753" y="45409"/>
                  <a:pt x="20652" y="44034"/>
                  <a:pt x="20652" y="42384"/>
                </a:cubicBezTo>
                <a:lnTo>
                  <a:pt x="20652" y="31110"/>
                </a:lnTo>
                <a:cubicBezTo>
                  <a:pt x="20652" y="29735"/>
                  <a:pt x="21753" y="28360"/>
                  <a:pt x="23128" y="27810"/>
                </a:cubicBezTo>
                <a:lnTo>
                  <a:pt x="26154" y="26986"/>
                </a:lnTo>
                <a:lnTo>
                  <a:pt x="28354" y="20936"/>
                </a:lnTo>
                <a:cubicBezTo>
                  <a:pt x="28904" y="19286"/>
                  <a:pt x="30829" y="18461"/>
                  <a:pt x="32480" y="19011"/>
                </a:cubicBezTo>
                <a:cubicBezTo>
                  <a:pt x="34130" y="19561"/>
                  <a:pt x="34955" y="21486"/>
                  <a:pt x="34405" y="23136"/>
                </a:cubicBezTo>
                <a:lnTo>
                  <a:pt x="31655" y="30560"/>
                </a:lnTo>
                <a:cubicBezTo>
                  <a:pt x="31380" y="31660"/>
                  <a:pt x="30554" y="32210"/>
                  <a:pt x="29454" y="32485"/>
                </a:cubicBezTo>
                <a:lnTo>
                  <a:pt x="27254" y="33035"/>
                </a:lnTo>
                <a:lnTo>
                  <a:pt x="27254" y="39085"/>
                </a:lnTo>
                <a:lnTo>
                  <a:pt x="30004" y="39635"/>
                </a:lnTo>
                <a:cubicBezTo>
                  <a:pt x="31105" y="39910"/>
                  <a:pt x="32205" y="40735"/>
                  <a:pt x="32480" y="42109"/>
                </a:cubicBezTo>
                <a:lnTo>
                  <a:pt x="34680" y="50084"/>
                </a:lnTo>
                <a:cubicBezTo>
                  <a:pt x="34955" y="50909"/>
                  <a:pt x="34680" y="51459"/>
                  <a:pt x="34680" y="52284"/>
                </a:cubicBezTo>
                <a:lnTo>
                  <a:pt x="33305" y="55308"/>
                </a:lnTo>
                <a:lnTo>
                  <a:pt x="38256" y="59708"/>
                </a:lnTo>
                <a:lnTo>
                  <a:pt x="41557" y="58058"/>
                </a:lnTo>
                <a:cubicBezTo>
                  <a:pt x="42382" y="57508"/>
                  <a:pt x="43482" y="57508"/>
                  <a:pt x="44307" y="58058"/>
                </a:cubicBezTo>
                <a:lnTo>
                  <a:pt x="51458" y="61358"/>
                </a:lnTo>
                <a:cubicBezTo>
                  <a:pt x="52284" y="61633"/>
                  <a:pt x="53109" y="62458"/>
                  <a:pt x="53384" y="63558"/>
                </a:cubicBezTo>
                <a:lnTo>
                  <a:pt x="54209" y="66583"/>
                </a:lnTo>
                <a:lnTo>
                  <a:pt x="61361" y="66583"/>
                </a:lnTo>
                <a:lnTo>
                  <a:pt x="61910" y="63558"/>
                </a:lnTo>
                <a:cubicBezTo>
                  <a:pt x="62186" y="62458"/>
                  <a:pt x="63011" y="61633"/>
                  <a:pt x="64111" y="61083"/>
                </a:cubicBezTo>
                <a:lnTo>
                  <a:pt x="72088" y="58058"/>
                </a:lnTo>
                <a:cubicBezTo>
                  <a:pt x="72913" y="57783"/>
                  <a:pt x="74013" y="57783"/>
                  <a:pt x="74838" y="58333"/>
                </a:cubicBezTo>
                <a:lnTo>
                  <a:pt x="77314" y="59708"/>
                </a:lnTo>
                <a:lnTo>
                  <a:pt x="81990" y="55308"/>
                </a:lnTo>
                <a:lnTo>
                  <a:pt x="80889" y="53109"/>
                </a:lnTo>
                <a:cubicBezTo>
                  <a:pt x="80339" y="52284"/>
                  <a:pt x="80339" y="51459"/>
                  <a:pt x="80614" y="50634"/>
                </a:cubicBezTo>
                <a:lnTo>
                  <a:pt x="83090" y="42109"/>
                </a:lnTo>
                <a:cubicBezTo>
                  <a:pt x="83365" y="41010"/>
                  <a:pt x="84465" y="39910"/>
                  <a:pt x="85565" y="39910"/>
                </a:cubicBezTo>
                <a:lnTo>
                  <a:pt x="89141" y="39360"/>
                </a:lnTo>
                <a:lnTo>
                  <a:pt x="88866" y="33310"/>
                </a:lnTo>
                <a:lnTo>
                  <a:pt x="86390" y="32760"/>
                </a:lnTo>
                <a:cubicBezTo>
                  <a:pt x="85290" y="32485"/>
                  <a:pt x="84465" y="31935"/>
                  <a:pt x="84190" y="31110"/>
                </a:cubicBezTo>
                <a:lnTo>
                  <a:pt x="80339" y="23686"/>
                </a:lnTo>
                <a:cubicBezTo>
                  <a:pt x="79514" y="22036"/>
                  <a:pt x="80064" y="20111"/>
                  <a:pt x="81714" y="19286"/>
                </a:cubicBezTo>
                <a:cubicBezTo>
                  <a:pt x="83365" y="18461"/>
                  <a:pt x="85290" y="19011"/>
                  <a:pt x="86115" y="20661"/>
                </a:cubicBezTo>
                <a:lnTo>
                  <a:pt x="89141" y="26711"/>
                </a:lnTo>
                <a:lnTo>
                  <a:pt x="92442" y="27536"/>
                </a:lnTo>
                <a:cubicBezTo>
                  <a:pt x="94917" y="27810"/>
                  <a:pt x="96017" y="29185"/>
                  <a:pt x="96017" y="30560"/>
                </a:cubicBezTo>
                <a:close/>
                <a:moveTo>
                  <a:pt x="58885" y="53109"/>
                </a:moveTo>
                <a:cubicBezTo>
                  <a:pt x="68237" y="53109"/>
                  <a:pt x="75938" y="45409"/>
                  <a:pt x="75938" y="36335"/>
                </a:cubicBezTo>
                <a:cubicBezTo>
                  <a:pt x="75938" y="27261"/>
                  <a:pt x="68237" y="19561"/>
                  <a:pt x="58885" y="19561"/>
                </a:cubicBezTo>
                <a:cubicBezTo>
                  <a:pt x="49533" y="19561"/>
                  <a:pt x="41832" y="27261"/>
                  <a:pt x="41832" y="36335"/>
                </a:cubicBezTo>
                <a:cubicBezTo>
                  <a:pt x="41832" y="45409"/>
                  <a:pt x="49533" y="53109"/>
                  <a:pt x="58885" y="53109"/>
                </a:cubicBezTo>
                <a:close/>
                <a:moveTo>
                  <a:pt x="58885" y="25886"/>
                </a:moveTo>
                <a:cubicBezTo>
                  <a:pt x="64661" y="25886"/>
                  <a:pt x="69337" y="30560"/>
                  <a:pt x="69337" y="36335"/>
                </a:cubicBezTo>
                <a:cubicBezTo>
                  <a:pt x="69337" y="42109"/>
                  <a:pt x="64661" y="46784"/>
                  <a:pt x="58885" y="46784"/>
                </a:cubicBezTo>
                <a:cubicBezTo>
                  <a:pt x="53109" y="46784"/>
                  <a:pt x="48433" y="42109"/>
                  <a:pt x="48433" y="36335"/>
                </a:cubicBezTo>
                <a:cubicBezTo>
                  <a:pt x="48433" y="30560"/>
                  <a:pt x="53109" y="25886"/>
                  <a:pt x="58885" y="2588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795" name="Google Shape;1795;g2e37ced3bdd_2_0"/>
          <p:cNvGrpSpPr/>
          <p:nvPr/>
        </p:nvGrpSpPr>
        <p:grpSpPr>
          <a:xfrm>
            <a:off x="10542061" y="3046337"/>
            <a:ext cx="548526" cy="545443"/>
            <a:chOff x="7570843" y="1915396"/>
            <a:chExt cx="548526" cy="545443"/>
          </a:xfrm>
        </p:grpSpPr>
        <p:sp>
          <p:nvSpPr>
            <p:cNvPr id="1796" name="Google Shape;1796;g2e37ced3bdd_2_0"/>
            <p:cNvSpPr/>
            <p:nvPr/>
          </p:nvSpPr>
          <p:spPr>
            <a:xfrm>
              <a:off x="7576580" y="2159209"/>
              <a:ext cx="109267" cy="109088"/>
            </a:xfrm>
            <a:custGeom>
              <a:avLst/>
              <a:gdLst/>
              <a:ahLst/>
              <a:cxnLst/>
              <a:rect l="l" t="t" r="r" b="b"/>
              <a:pathLst>
                <a:path w="109267" h="109088" extrusionOk="0">
                  <a:moveTo>
                    <a:pt x="54634" y="109089"/>
                  </a:moveTo>
                  <a:cubicBezTo>
                    <a:pt x="24460" y="109089"/>
                    <a:pt x="0" y="84668"/>
                    <a:pt x="0" y="54544"/>
                  </a:cubicBezTo>
                  <a:cubicBezTo>
                    <a:pt x="0" y="24420"/>
                    <a:pt x="24460" y="0"/>
                    <a:pt x="54634" y="0"/>
                  </a:cubicBezTo>
                  <a:cubicBezTo>
                    <a:pt x="84808" y="0"/>
                    <a:pt x="109268" y="24420"/>
                    <a:pt x="109268" y="54544"/>
                  </a:cubicBezTo>
                  <a:cubicBezTo>
                    <a:pt x="109268" y="84668"/>
                    <a:pt x="84808" y="109089"/>
                    <a:pt x="54634" y="109089"/>
                  </a:cubicBezTo>
                  <a:close/>
                  <a:moveTo>
                    <a:pt x="54634" y="25636"/>
                  </a:moveTo>
                  <a:cubicBezTo>
                    <a:pt x="39547" y="25636"/>
                    <a:pt x="27317" y="37846"/>
                    <a:pt x="27317" y="52908"/>
                  </a:cubicBezTo>
                  <a:cubicBezTo>
                    <a:pt x="27317" y="67970"/>
                    <a:pt x="39547" y="80180"/>
                    <a:pt x="54634" y="80180"/>
                  </a:cubicBezTo>
                  <a:cubicBezTo>
                    <a:pt x="69720" y="80180"/>
                    <a:pt x="81951" y="67970"/>
                    <a:pt x="81951" y="52908"/>
                  </a:cubicBezTo>
                  <a:cubicBezTo>
                    <a:pt x="81951" y="37846"/>
                    <a:pt x="69720" y="25636"/>
                    <a:pt x="54634" y="256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7" name="Google Shape;1797;g2e37ced3bdd_2_0"/>
            <p:cNvSpPr/>
            <p:nvPr/>
          </p:nvSpPr>
          <p:spPr>
            <a:xfrm>
              <a:off x="7570843" y="2271570"/>
              <a:ext cx="118556" cy="110179"/>
            </a:xfrm>
            <a:custGeom>
              <a:avLst/>
              <a:gdLst/>
              <a:ahLst/>
              <a:cxnLst/>
              <a:rect l="l" t="t" r="r" b="b"/>
              <a:pathLst>
                <a:path w="118556" h="110179" extrusionOk="0">
                  <a:moveTo>
                    <a:pt x="104897" y="110179"/>
                  </a:moveTo>
                  <a:cubicBezTo>
                    <a:pt x="97353" y="110179"/>
                    <a:pt x="91239" y="104074"/>
                    <a:pt x="91239" y="96543"/>
                  </a:cubicBezTo>
                  <a:lnTo>
                    <a:pt x="91239" y="59181"/>
                  </a:lnTo>
                  <a:cubicBezTo>
                    <a:pt x="91239" y="41558"/>
                    <a:pt x="76929" y="27272"/>
                    <a:pt x="59277" y="27272"/>
                  </a:cubicBezTo>
                  <a:cubicBezTo>
                    <a:pt x="41626" y="27272"/>
                    <a:pt x="27316" y="41558"/>
                    <a:pt x="27316" y="59181"/>
                  </a:cubicBezTo>
                  <a:lnTo>
                    <a:pt x="27317" y="96543"/>
                  </a:lnTo>
                  <a:cubicBezTo>
                    <a:pt x="27317" y="104074"/>
                    <a:pt x="21202" y="110179"/>
                    <a:pt x="13658" y="110179"/>
                  </a:cubicBezTo>
                  <a:cubicBezTo>
                    <a:pt x="6115" y="110179"/>
                    <a:pt x="0" y="104074"/>
                    <a:pt x="0" y="96543"/>
                  </a:cubicBezTo>
                  <a:lnTo>
                    <a:pt x="0" y="59181"/>
                  </a:lnTo>
                  <a:cubicBezTo>
                    <a:pt x="0" y="26496"/>
                    <a:pt x="26539" y="0"/>
                    <a:pt x="59278" y="0"/>
                  </a:cubicBezTo>
                  <a:cubicBezTo>
                    <a:pt x="92016" y="0"/>
                    <a:pt x="118556" y="26496"/>
                    <a:pt x="118556" y="59180"/>
                  </a:cubicBezTo>
                  <a:lnTo>
                    <a:pt x="118556" y="96543"/>
                  </a:lnTo>
                  <a:cubicBezTo>
                    <a:pt x="118556" y="104074"/>
                    <a:pt x="112441" y="110179"/>
                    <a:pt x="104897" y="110179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8" name="Google Shape;1798;g2e37ced3bdd_2_0"/>
            <p:cNvSpPr/>
            <p:nvPr/>
          </p:nvSpPr>
          <p:spPr>
            <a:xfrm>
              <a:off x="7616463" y="2272661"/>
              <a:ext cx="27316" cy="81816"/>
            </a:xfrm>
            <a:custGeom>
              <a:avLst/>
              <a:gdLst/>
              <a:ahLst/>
              <a:cxnLst/>
              <a:rect l="l" t="t" r="r" b="b"/>
              <a:pathLst>
                <a:path w="27316" h="81816" extrusionOk="0">
                  <a:moveTo>
                    <a:pt x="13658" y="81816"/>
                  </a:moveTo>
                  <a:cubicBezTo>
                    <a:pt x="6115" y="81816"/>
                    <a:pt x="0" y="75711"/>
                    <a:pt x="0" y="68180"/>
                  </a:cubicBezTo>
                  <a:lnTo>
                    <a:pt x="0" y="13636"/>
                  </a:lnTo>
                  <a:cubicBezTo>
                    <a:pt x="0" y="6105"/>
                    <a:pt x="6115" y="0"/>
                    <a:pt x="13658" y="0"/>
                  </a:cubicBezTo>
                  <a:cubicBezTo>
                    <a:pt x="21202" y="0"/>
                    <a:pt x="27317" y="6105"/>
                    <a:pt x="27317" y="13636"/>
                  </a:cubicBezTo>
                  <a:lnTo>
                    <a:pt x="27317" y="68180"/>
                  </a:lnTo>
                  <a:cubicBezTo>
                    <a:pt x="27317" y="75711"/>
                    <a:pt x="21202" y="81816"/>
                    <a:pt x="13658" y="8181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9" name="Google Shape;1799;g2e37ced3bdd_2_0"/>
            <p:cNvSpPr/>
            <p:nvPr/>
          </p:nvSpPr>
          <p:spPr>
            <a:xfrm>
              <a:off x="7792111" y="1915396"/>
              <a:ext cx="109267" cy="109088"/>
            </a:xfrm>
            <a:custGeom>
              <a:avLst/>
              <a:gdLst/>
              <a:ahLst/>
              <a:cxnLst/>
              <a:rect l="l" t="t" r="r" b="b"/>
              <a:pathLst>
                <a:path w="109267" h="109088" extrusionOk="0">
                  <a:moveTo>
                    <a:pt x="54634" y="109089"/>
                  </a:moveTo>
                  <a:cubicBezTo>
                    <a:pt x="24460" y="109089"/>
                    <a:pt x="0" y="84668"/>
                    <a:pt x="0" y="54544"/>
                  </a:cubicBezTo>
                  <a:cubicBezTo>
                    <a:pt x="0" y="24420"/>
                    <a:pt x="24460" y="0"/>
                    <a:pt x="54634" y="0"/>
                  </a:cubicBezTo>
                  <a:cubicBezTo>
                    <a:pt x="84808" y="0"/>
                    <a:pt x="109268" y="24420"/>
                    <a:pt x="109268" y="54544"/>
                  </a:cubicBezTo>
                  <a:cubicBezTo>
                    <a:pt x="109268" y="84668"/>
                    <a:pt x="84808" y="109089"/>
                    <a:pt x="54634" y="109089"/>
                  </a:cubicBezTo>
                  <a:close/>
                  <a:moveTo>
                    <a:pt x="54634" y="25636"/>
                  </a:moveTo>
                  <a:cubicBezTo>
                    <a:pt x="39547" y="25636"/>
                    <a:pt x="27317" y="37846"/>
                    <a:pt x="27317" y="52908"/>
                  </a:cubicBezTo>
                  <a:cubicBezTo>
                    <a:pt x="27317" y="67970"/>
                    <a:pt x="39547" y="80180"/>
                    <a:pt x="54634" y="80180"/>
                  </a:cubicBezTo>
                  <a:cubicBezTo>
                    <a:pt x="69720" y="80180"/>
                    <a:pt x="81951" y="67970"/>
                    <a:pt x="81951" y="52908"/>
                  </a:cubicBezTo>
                  <a:cubicBezTo>
                    <a:pt x="82705" y="37865"/>
                    <a:pt x="71102" y="25059"/>
                    <a:pt x="56034" y="24306"/>
                  </a:cubicBezTo>
                  <a:cubicBezTo>
                    <a:pt x="55568" y="24283"/>
                    <a:pt x="55101" y="24272"/>
                    <a:pt x="54634" y="2427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0" name="Google Shape;1800;g2e37ced3bdd_2_0"/>
            <p:cNvSpPr/>
            <p:nvPr/>
          </p:nvSpPr>
          <p:spPr>
            <a:xfrm>
              <a:off x="7786236" y="2022104"/>
              <a:ext cx="118557" cy="114469"/>
            </a:xfrm>
            <a:custGeom>
              <a:avLst/>
              <a:gdLst/>
              <a:ahLst/>
              <a:cxnLst/>
              <a:rect l="l" t="t" r="r" b="b"/>
              <a:pathLst>
                <a:path w="118557" h="114469" extrusionOk="0">
                  <a:moveTo>
                    <a:pt x="104763" y="114470"/>
                  </a:moveTo>
                  <a:cubicBezTo>
                    <a:pt x="97281" y="114325"/>
                    <a:pt x="91249" y="108304"/>
                    <a:pt x="91104" y="100834"/>
                  </a:cubicBezTo>
                  <a:lnTo>
                    <a:pt x="91104" y="63198"/>
                  </a:lnTo>
                  <a:cubicBezTo>
                    <a:pt x="92734" y="45651"/>
                    <a:pt x="79807" y="30107"/>
                    <a:pt x="62231" y="28479"/>
                  </a:cubicBezTo>
                  <a:cubicBezTo>
                    <a:pt x="44656" y="26852"/>
                    <a:pt x="29086" y="39757"/>
                    <a:pt x="27456" y="57304"/>
                  </a:cubicBezTo>
                  <a:cubicBezTo>
                    <a:pt x="27274" y="59265"/>
                    <a:pt x="27274" y="61238"/>
                    <a:pt x="27456" y="63198"/>
                  </a:cubicBezTo>
                  <a:lnTo>
                    <a:pt x="27456" y="100834"/>
                  </a:lnTo>
                  <a:cubicBezTo>
                    <a:pt x="27311" y="108304"/>
                    <a:pt x="21279" y="114325"/>
                    <a:pt x="13797" y="114470"/>
                  </a:cubicBezTo>
                  <a:cubicBezTo>
                    <a:pt x="6254" y="114470"/>
                    <a:pt x="139" y="108365"/>
                    <a:pt x="139" y="100834"/>
                  </a:cubicBezTo>
                  <a:lnTo>
                    <a:pt x="139" y="63198"/>
                  </a:lnTo>
                  <a:cubicBezTo>
                    <a:pt x="-2082" y="30589"/>
                    <a:pt x="22596" y="2356"/>
                    <a:pt x="55258" y="139"/>
                  </a:cubicBezTo>
                  <a:cubicBezTo>
                    <a:pt x="87921" y="-2079"/>
                    <a:pt x="116200" y="22559"/>
                    <a:pt x="118421" y="55168"/>
                  </a:cubicBezTo>
                  <a:cubicBezTo>
                    <a:pt x="118603" y="57841"/>
                    <a:pt x="118603" y="60524"/>
                    <a:pt x="118421" y="63198"/>
                  </a:cubicBezTo>
                  <a:lnTo>
                    <a:pt x="118421" y="100834"/>
                  </a:lnTo>
                  <a:cubicBezTo>
                    <a:pt x="118421" y="108365"/>
                    <a:pt x="112306" y="114470"/>
                    <a:pt x="104763" y="11447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1" name="Google Shape;1801;g2e37ced3bdd_2_0"/>
            <p:cNvSpPr/>
            <p:nvPr/>
          </p:nvSpPr>
          <p:spPr>
            <a:xfrm>
              <a:off x="7830628" y="2027485"/>
              <a:ext cx="27316" cy="81816"/>
            </a:xfrm>
            <a:custGeom>
              <a:avLst/>
              <a:gdLst/>
              <a:ahLst/>
              <a:cxnLst/>
              <a:rect l="l" t="t" r="r" b="b"/>
              <a:pathLst>
                <a:path w="27316" h="81816" extrusionOk="0">
                  <a:moveTo>
                    <a:pt x="13658" y="81816"/>
                  </a:moveTo>
                  <a:cubicBezTo>
                    <a:pt x="6176" y="81671"/>
                    <a:pt x="145" y="75650"/>
                    <a:pt x="0" y="68180"/>
                  </a:cubicBezTo>
                  <a:lnTo>
                    <a:pt x="0" y="13636"/>
                  </a:lnTo>
                  <a:cubicBezTo>
                    <a:pt x="0" y="6105"/>
                    <a:pt x="6115" y="0"/>
                    <a:pt x="13658" y="0"/>
                  </a:cubicBezTo>
                  <a:cubicBezTo>
                    <a:pt x="21202" y="0"/>
                    <a:pt x="27317" y="6105"/>
                    <a:pt x="27317" y="13636"/>
                  </a:cubicBezTo>
                  <a:lnTo>
                    <a:pt x="27317" y="68180"/>
                  </a:lnTo>
                  <a:cubicBezTo>
                    <a:pt x="27317" y="75711"/>
                    <a:pt x="21202" y="81816"/>
                    <a:pt x="13658" y="8181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2" name="Google Shape;1802;g2e37ced3bdd_2_0"/>
            <p:cNvSpPr/>
            <p:nvPr/>
          </p:nvSpPr>
          <p:spPr>
            <a:xfrm>
              <a:off x="8006549" y="2159209"/>
              <a:ext cx="109267" cy="109088"/>
            </a:xfrm>
            <a:custGeom>
              <a:avLst/>
              <a:gdLst/>
              <a:ahLst/>
              <a:cxnLst/>
              <a:rect l="l" t="t" r="r" b="b"/>
              <a:pathLst>
                <a:path w="109267" h="109088" extrusionOk="0">
                  <a:moveTo>
                    <a:pt x="54634" y="109089"/>
                  </a:moveTo>
                  <a:cubicBezTo>
                    <a:pt x="24460" y="109089"/>
                    <a:pt x="0" y="84668"/>
                    <a:pt x="0" y="54544"/>
                  </a:cubicBezTo>
                  <a:cubicBezTo>
                    <a:pt x="0" y="24420"/>
                    <a:pt x="24460" y="0"/>
                    <a:pt x="54634" y="0"/>
                  </a:cubicBezTo>
                  <a:cubicBezTo>
                    <a:pt x="84808" y="0"/>
                    <a:pt x="109268" y="24420"/>
                    <a:pt x="109268" y="54544"/>
                  </a:cubicBezTo>
                  <a:cubicBezTo>
                    <a:pt x="109268" y="84668"/>
                    <a:pt x="84808" y="109089"/>
                    <a:pt x="54634" y="109089"/>
                  </a:cubicBezTo>
                  <a:close/>
                  <a:moveTo>
                    <a:pt x="54634" y="25636"/>
                  </a:moveTo>
                  <a:cubicBezTo>
                    <a:pt x="39547" y="25636"/>
                    <a:pt x="27317" y="37846"/>
                    <a:pt x="27317" y="52908"/>
                  </a:cubicBezTo>
                  <a:cubicBezTo>
                    <a:pt x="27317" y="67970"/>
                    <a:pt x="39547" y="80180"/>
                    <a:pt x="54634" y="80180"/>
                  </a:cubicBezTo>
                  <a:cubicBezTo>
                    <a:pt x="69720" y="80180"/>
                    <a:pt x="81951" y="67970"/>
                    <a:pt x="81951" y="52908"/>
                  </a:cubicBezTo>
                  <a:cubicBezTo>
                    <a:pt x="81951" y="37846"/>
                    <a:pt x="69720" y="25636"/>
                    <a:pt x="54634" y="256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3" name="Google Shape;1803;g2e37ced3bdd_2_0"/>
            <p:cNvSpPr/>
            <p:nvPr/>
          </p:nvSpPr>
          <p:spPr>
            <a:xfrm>
              <a:off x="8000813" y="2271570"/>
              <a:ext cx="118556" cy="110179"/>
            </a:xfrm>
            <a:custGeom>
              <a:avLst/>
              <a:gdLst/>
              <a:ahLst/>
              <a:cxnLst/>
              <a:rect l="l" t="t" r="r" b="b"/>
              <a:pathLst>
                <a:path w="118556" h="110179" extrusionOk="0">
                  <a:moveTo>
                    <a:pt x="104897" y="110179"/>
                  </a:moveTo>
                  <a:cubicBezTo>
                    <a:pt x="97353" y="110179"/>
                    <a:pt x="91239" y="104074"/>
                    <a:pt x="91239" y="96543"/>
                  </a:cubicBezTo>
                  <a:lnTo>
                    <a:pt x="91239" y="59181"/>
                  </a:lnTo>
                  <a:cubicBezTo>
                    <a:pt x="91239" y="41558"/>
                    <a:pt x="76929" y="27272"/>
                    <a:pt x="59277" y="27272"/>
                  </a:cubicBezTo>
                  <a:cubicBezTo>
                    <a:pt x="41626" y="27272"/>
                    <a:pt x="27316" y="41558"/>
                    <a:pt x="27316" y="59181"/>
                  </a:cubicBezTo>
                  <a:lnTo>
                    <a:pt x="27317" y="96543"/>
                  </a:lnTo>
                  <a:cubicBezTo>
                    <a:pt x="27317" y="104074"/>
                    <a:pt x="21202" y="110179"/>
                    <a:pt x="13658" y="110179"/>
                  </a:cubicBezTo>
                  <a:cubicBezTo>
                    <a:pt x="6115" y="110179"/>
                    <a:pt x="0" y="104074"/>
                    <a:pt x="0" y="96543"/>
                  </a:cubicBezTo>
                  <a:lnTo>
                    <a:pt x="0" y="59181"/>
                  </a:lnTo>
                  <a:cubicBezTo>
                    <a:pt x="0" y="26496"/>
                    <a:pt x="26539" y="0"/>
                    <a:pt x="59278" y="0"/>
                  </a:cubicBezTo>
                  <a:cubicBezTo>
                    <a:pt x="92016" y="0"/>
                    <a:pt x="118556" y="26496"/>
                    <a:pt x="118556" y="59180"/>
                  </a:cubicBezTo>
                  <a:lnTo>
                    <a:pt x="118556" y="96543"/>
                  </a:lnTo>
                  <a:cubicBezTo>
                    <a:pt x="118556" y="104074"/>
                    <a:pt x="112441" y="110179"/>
                    <a:pt x="104897" y="110179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4" name="Google Shape;1804;g2e37ced3bdd_2_0"/>
            <p:cNvSpPr/>
            <p:nvPr/>
          </p:nvSpPr>
          <p:spPr>
            <a:xfrm>
              <a:off x="8046432" y="2272661"/>
              <a:ext cx="27316" cy="81816"/>
            </a:xfrm>
            <a:custGeom>
              <a:avLst/>
              <a:gdLst/>
              <a:ahLst/>
              <a:cxnLst/>
              <a:rect l="l" t="t" r="r" b="b"/>
              <a:pathLst>
                <a:path w="27316" h="81816" extrusionOk="0">
                  <a:moveTo>
                    <a:pt x="13658" y="81816"/>
                  </a:moveTo>
                  <a:cubicBezTo>
                    <a:pt x="6115" y="81816"/>
                    <a:pt x="0" y="75711"/>
                    <a:pt x="0" y="68180"/>
                  </a:cubicBezTo>
                  <a:lnTo>
                    <a:pt x="0" y="13636"/>
                  </a:lnTo>
                  <a:cubicBezTo>
                    <a:pt x="0" y="6105"/>
                    <a:pt x="6115" y="0"/>
                    <a:pt x="13658" y="0"/>
                  </a:cubicBezTo>
                  <a:cubicBezTo>
                    <a:pt x="21202" y="0"/>
                    <a:pt x="27317" y="6105"/>
                    <a:pt x="27317" y="13636"/>
                  </a:cubicBezTo>
                  <a:lnTo>
                    <a:pt x="27317" y="68180"/>
                  </a:lnTo>
                  <a:cubicBezTo>
                    <a:pt x="27317" y="75711"/>
                    <a:pt x="21202" y="81816"/>
                    <a:pt x="13658" y="8181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5" name="Google Shape;1805;g2e37ced3bdd_2_0"/>
            <p:cNvSpPr/>
            <p:nvPr/>
          </p:nvSpPr>
          <p:spPr>
            <a:xfrm>
              <a:off x="7702983" y="2147206"/>
              <a:ext cx="285066" cy="313633"/>
            </a:xfrm>
            <a:custGeom>
              <a:avLst/>
              <a:gdLst/>
              <a:ahLst/>
              <a:cxnLst/>
              <a:rect l="l" t="t" r="r" b="b"/>
              <a:pathLst>
                <a:path w="285066" h="313633" extrusionOk="0">
                  <a:moveTo>
                    <a:pt x="271333" y="313633"/>
                  </a:moveTo>
                  <a:cubicBezTo>
                    <a:pt x="264295" y="313409"/>
                    <a:pt x="258483" y="308072"/>
                    <a:pt x="257674" y="301088"/>
                  </a:cubicBezTo>
                  <a:lnTo>
                    <a:pt x="231723" y="28367"/>
                  </a:lnTo>
                  <a:lnTo>
                    <a:pt x="53343" y="28367"/>
                  </a:lnTo>
                  <a:lnTo>
                    <a:pt x="27391" y="301088"/>
                  </a:lnTo>
                  <a:cubicBezTo>
                    <a:pt x="26679" y="308585"/>
                    <a:pt x="20013" y="314086"/>
                    <a:pt x="12503" y="313374"/>
                  </a:cubicBezTo>
                  <a:cubicBezTo>
                    <a:pt x="12458" y="313370"/>
                    <a:pt x="12412" y="313366"/>
                    <a:pt x="12367" y="313361"/>
                  </a:cubicBezTo>
                  <a:cubicBezTo>
                    <a:pt x="4996" y="312799"/>
                    <a:pt x="-523" y="306378"/>
                    <a:pt x="39" y="299019"/>
                  </a:cubicBezTo>
                  <a:cubicBezTo>
                    <a:pt x="49" y="298891"/>
                    <a:pt x="61" y="298762"/>
                    <a:pt x="74" y="298634"/>
                  </a:cubicBezTo>
                  <a:lnTo>
                    <a:pt x="27391" y="12276"/>
                  </a:lnTo>
                  <a:cubicBezTo>
                    <a:pt x="27968" y="5219"/>
                    <a:pt x="33960" y="-164"/>
                    <a:pt x="41050" y="4"/>
                  </a:cubicBezTo>
                  <a:lnTo>
                    <a:pt x="244016" y="4"/>
                  </a:lnTo>
                  <a:cubicBezTo>
                    <a:pt x="251106" y="-164"/>
                    <a:pt x="257097" y="5219"/>
                    <a:pt x="257674" y="12276"/>
                  </a:cubicBezTo>
                  <a:lnTo>
                    <a:pt x="284991" y="298634"/>
                  </a:lnTo>
                  <a:cubicBezTo>
                    <a:pt x="285767" y="305973"/>
                    <a:pt x="280436" y="312551"/>
                    <a:pt x="273084" y="313326"/>
                  </a:cubicBezTo>
                  <a:cubicBezTo>
                    <a:pt x="272956" y="313339"/>
                    <a:pt x="272827" y="313351"/>
                    <a:pt x="272698" y="31336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4221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8F8"/>
        </a:solidFill>
        <a:effectLst/>
      </p:bgPr>
    </p:bg>
    <p:spTree>
      <p:nvGrpSpPr>
        <p:cNvPr id="1" name="Shape 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B850D78-E863-E14B-5E42-13A07E2F98EA}"/>
              </a:ext>
            </a:extLst>
          </p:cNvPr>
          <p:cNvSpPr/>
          <p:nvPr/>
        </p:nvSpPr>
        <p:spPr>
          <a:xfrm>
            <a:off x="11744237" y="21706"/>
            <a:ext cx="444500" cy="433916"/>
          </a:xfrm>
          <a:prstGeom prst="rect">
            <a:avLst/>
          </a:prstGeom>
          <a:solidFill>
            <a:srgbClr val="F6F8F8"/>
          </a:solidFill>
          <a:ln>
            <a:solidFill>
              <a:srgbClr val="F6F8F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0" name="Google Shape;1530;g2e2e69b1e76_1_520"/>
          <p:cNvSpPr/>
          <p:nvPr/>
        </p:nvSpPr>
        <p:spPr>
          <a:xfrm>
            <a:off x="87091" y="202658"/>
            <a:ext cx="2471169" cy="1814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800"/>
              <a:buFont typeface="Arial"/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500+</a:t>
            </a:r>
            <a:endParaRPr lang="en-US" sz="7000">
              <a:solidFill>
                <a:schemeClr val="dk1"/>
              </a:solidFill>
              <a:latin typeface="Arial"/>
              <a:ea typeface="Arial"/>
              <a:cs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endees at </a:t>
            </a:r>
            <a:r>
              <a:rPr lang="en-GB" b="1">
                <a:solidFill>
                  <a:schemeClr val="dk1"/>
                </a:solidFill>
              </a:rPr>
              <a:t>48</a:t>
            </a:r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 Learning Labs</a:t>
            </a:r>
            <a:endParaRPr lang="en-GB" b="1">
              <a:solidFill>
                <a:schemeClr val="dk1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1547" name="Google Shape;1547;g2e2e69b1e76_1_520" descr="A group of people sitting around a tabl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-336" t="631" r="3302" b="96"/>
          <a:stretch/>
        </p:blipFill>
        <p:spPr>
          <a:xfrm>
            <a:off x="8904437" y="4014116"/>
            <a:ext cx="3055746" cy="2098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48" name="Google Shape;1548;g2e2e69b1e76_1_520" descr="A group of people in a room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l="180" t="4032" r="-350" b="420"/>
          <a:stretch/>
        </p:blipFill>
        <p:spPr>
          <a:xfrm>
            <a:off x="2677902" y="2179833"/>
            <a:ext cx="2623871" cy="1717885"/>
          </a:xfrm>
          <a:prstGeom prst="rect">
            <a:avLst/>
          </a:prstGeom>
          <a:noFill/>
          <a:ln>
            <a:noFill/>
          </a:ln>
        </p:spPr>
      </p:pic>
      <p:sp>
        <p:nvSpPr>
          <p:cNvPr id="1549" name="Google Shape;1549;g2e2e69b1e76_1_520"/>
          <p:cNvSpPr txBox="1"/>
          <p:nvPr/>
        </p:nvSpPr>
        <p:spPr>
          <a:xfrm rot="16200000">
            <a:off x="10789699" y="4666013"/>
            <a:ext cx="260730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i="1">
                <a:solidFill>
                  <a:srgbClr val="768692"/>
                </a:solidFill>
                <a:latin typeface="Arial"/>
                <a:ea typeface="Arial"/>
                <a:cs typeface="Arial"/>
                <a:sym typeface="Arial"/>
              </a:rPr>
              <a:t>*figures updated on </a:t>
            </a:r>
            <a:r>
              <a:rPr lang="en-GB" sz="1200" i="1">
                <a:solidFill>
                  <a:srgbClr val="768692"/>
                </a:solidFill>
              </a:rPr>
              <a:t>28/6/2024</a:t>
            </a:r>
            <a:endParaRPr sz="1600">
              <a:solidFill>
                <a:srgbClr val="768692"/>
              </a:solidFill>
            </a:endParaRPr>
          </a:p>
        </p:txBody>
      </p:sp>
      <p:sp>
        <p:nvSpPr>
          <p:cNvPr id="9" name="Google Shape;1530;g2e2e69b1e76_1_520">
            <a:extLst>
              <a:ext uri="{FF2B5EF4-FFF2-40B4-BE49-F238E27FC236}">
                <a16:creationId xmlns:a16="http://schemas.microsoft.com/office/drawing/2014/main" id="{281B494C-D7D9-CA0E-F87D-6D8961E0A91E}"/>
              </a:ext>
            </a:extLst>
          </p:cNvPr>
          <p:cNvSpPr/>
          <p:nvPr/>
        </p:nvSpPr>
        <p:spPr>
          <a:xfrm>
            <a:off x="87090" y="2092823"/>
            <a:ext cx="2471169" cy="2041278"/>
          </a:xfrm>
          <a:prstGeom prst="rect">
            <a:avLst/>
          </a:prstGeom>
          <a:solidFill>
            <a:srgbClr val="00A4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770+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mbers of the </a:t>
            </a:r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munity of Practice</a:t>
            </a:r>
            <a:endParaRPr lang="en-GB" b="1">
              <a:solidFill>
                <a:schemeClr val="dk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" name="Google Shape;1530;g2e2e69b1e76_1_520">
            <a:extLst>
              <a:ext uri="{FF2B5EF4-FFF2-40B4-BE49-F238E27FC236}">
                <a16:creationId xmlns:a16="http://schemas.microsoft.com/office/drawing/2014/main" id="{7B2BF845-EB36-8B32-DA38-64BF643B2253}"/>
              </a:ext>
            </a:extLst>
          </p:cNvPr>
          <p:cNvSpPr/>
          <p:nvPr/>
        </p:nvSpPr>
        <p:spPr>
          <a:xfrm>
            <a:off x="2680563" y="4004503"/>
            <a:ext cx="2471170" cy="2121489"/>
          </a:xfrm>
          <a:prstGeom prst="rect">
            <a:avLst/>
          </a:prstGeom>
          <a:solidFill>
            <a:srgbClr val="1131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GB" sz="1000" b="1">
                <a:solidFill>
                  <a:schemeClr val="dk1"/>
                </a:solidFill>
                <a:latin typeface="Arial"/>
                <a:cs typeface="Arial"/>
              </a:rPr>
              <a:t> </a:t>
            </a:r>
            <a:endParaRPr lang="en-GB" sz="7000" b="1">
              <a:solidFill>
                <a:schemeClr val="dk1"/>
              </a:solidFill>
              <a:latin typeface="Arial"/>
              <a:cs typeface="Arial"/>
              <a:sym typeface="Arial"/>
            </a:endParaRPr>
          </a:p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65+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usts </a:t>
            </a:r>
            <a:r>
              <a:rPr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ve attended the Learning Labs from all seven regions</a:t>
            </a:r>
            <a:endParaRPr lang="en-GB">
              <a:solidFill>
                <a:schemeClr val="dk1"/>
              </a:solidFill>
              <a:latin typeface="Arial"/>
              <a:ea typeface="Arial"/>
              <a:cs typeface="Arial"/>
            </a:endParaRPr>
          </a:p>
          <a:p>
            <a:pPr algn="ctr"/>
            <a:endParaRPr lang="en-GB" sz="2000" b="1">
              <a:solidFill>
                <a:schemeClr val="dk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" name="Google Shape;1530;g2e2e69b1e76_1_520">
            <a:extLst>
              <a:ext uri="{FF2B5EF4-FFF2-40B4-BE49-F238E27FC236}">
                <a16:creationId xmlns:a16="http://schemas.microsoft.com/office/drawing/2014/main" id="{E3CBDDA4-7890-961B-CDE4-F88409230188}"/>
              </a:ext>
            </a:extLst>
          </p:cNvPr>
          <p:cNvSpPr/>
          <p:nvPr/>
        </p:nvSpPr>
        <p:spPr>
          <a:xfrm>
            <a:off x="2680564" y="207875"/>
            <a:ext cx="5278539" cy="1894223"/>
          </a:xfrm>
          <a:prstGeom prst="rect">
            <a:avLst/>
          </a:prstGeom>
          <a:solidFill>
            <a:srgbClr val="5DC2D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GB" sz="2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Most popular Events were:</a:t>
            </a:r>
            <a:br>
              <a:rPr lang="en-GB" sz="2000" b="1">
                <a:latin typeface="Arial"/>
                <a:cs typeface="Arial"/>
              </a:rPr>
            </a:br>
            <a:r>
              <a:rPr lang="en-GB" sz="600" b="1">
                <a:solidFill>
                  <a:schemeClr val="dk1"/>
                </a:solidFill>
                <a:latin typeface="Arial"/>
                <a:cs typeface="Arial"/>
              </a:rPr>
              <a:t> </a:t>
            </a:r>
            <a:endParaRPr lang="en-GB" sz="2000" b="1">
              <a:solidFill>
                <a:schemeClr val="dk1"/>
              </a:solidFill>
              <a:latin typeface="Arial"/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cs typeface="Arial"/>
              </a:rPr>
              <a:t>The Precision of Practice: The Art of Nursing Documentation [502 attendees]</a:t>
            </a:r>
          </a:p>
          <a:p>
            <a:endParaRPr lang="en-GB">
              <a:solidFill>
                <a:schemeClr val="dk1"/>
              </a:solidFill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r>
              <a:rPr lang="en-GB">
                <a:solidFill>
                  <a:schemeClr val="dk1"/>
                </a:solidFill>
                <a:cs typeface="Arial"/>
              </a:rPr>
              <a:t>Mapping the Path to Transformation: The Power of Process Mapping [134 attendees]</a:t>
            </a:r>
            <a:endParaRPr lang="en-US">
              <a:solidFill>
                <a:schemeClr val="dk1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solidFill>
                <a:schemeClr val="dk1"/>
              </a:solidFill>
              <a:cs typeface="Arial"/>
            </a:endParaRPr>
          </a:p>
        </p:txBody>
      </p:sp>
      <p:sp>
        <p:nvSpPr>
          <p:cNvPr id="12" name="Google Shape;1530;g2e2e69b1e76_1_520">
            <a:extLst>
              <a:ext uri="{FF2B5EF4-FFF2-40B4-BE49-F238E27FC236}">
                <a16:creationId xmlns:a16="http://schemas.microsoft.com/office/drawing/2014/main" id="{9F198BDD-24F2-057F-BA14-C2F3535A31E3}"/>
              </a:ext>
            </a:extLst>
          </p:cNvPr>
          <p:cNvSpPr/>
          <p:nvPr/>
        </p:nvSpPr>
        <p:spPr>
          <a:xfrm>
            <a:off x="8025378" y="200074"/>
            <a:ext cx="3916110" cy="1453070"/>
          </a:xfrm>
          <a:prstGeom prst="rect">
            <a:avLst/>
          </a:prstGeom>
          <a:solidFill>
            <a:srgbClr val="1131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2.7k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hly recipients of</a:t>
            </a:r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FDSO bulletin</a:t>
            </a:r>
            <a:endParaRPr lang="en-GB" b="1">
              <a:solidFill>
                <a:schemeClr val="dk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" name="Google Shape;1530;g2e2e69b1e76_1_520">
            <a:extLst>
              <a:ext uri="{FF2B5EF4-FFF2-40B4-BE49-F238E27FC236}">
                <a16:creationId xmlns:a16="http://schemas.microsoft.com/office/drawing/2014/main" id="{30E31F57-F24D-DF32-317C-1EA8BF4FFE4F}"/>
              </a:ext>
            </a:extLst>
          </p:cNvPr>
          <p:cNvSpPr/>
          <p:nvPr/>
        </p:nvSpPr>
        <p:spPr>
          <a:xfrm>
            <a:off x="5354248" y="2180880"/>
            <a:ext cx="2604852" cy="1722761"/>
          </a:xfrm>
          <a:prstGeom prst="rect">
            <a:avLst/>
          </a:prstGeom>
          <a:solidFill>
            <a:srgbClr val="1131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80k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>
                <a:solidFill>
                  <a:schemeClr val="dk1"/>
                </a:solidFill>
                <a:latin typeface="Arial"/>
                <a:cs typeface="Arial"/>
                <a:sym typeface="Arial"/>
              </a:rPr>
              <a:t>visits to the </a:t>
            </a:r>
            <a:r>
              <a:rPr lang="en-GB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FutureNHS Support Hub</a:t>
            </a:r>
            <a:endParaRPr lang="en-GB" b="1">
              <a:solidFill>
                <a:schemeClr val="dk1"/>
              </a:solidFill>
            </a:endParaRPr>
          </a:p>
        </p:txBody>
      </p:sp>
      <p:sp>
        <p:nvSpPr>
          <p:cNvPr id="14" name="Google Shape;1530;g2e2e69b1e76_1_520">
            <a:extLst>
              <a:ext uri="{FF2B5EF4-FFF2-40B4-BE49-F238E27FC236}">
                <a16:creationId xmlns:a16="http://schemas.microsoft.com/office/drawing/2014/main" id="{6E9649F9-1C68-1E4A-8E43-6A0F9B427036}"/>
              </a:ext>
            </a:extLst>
          </p:cNvPr>
          <p:cNvSpPr/>
          <p:nvPr/>
        </p:nvSpPr>
        <p:spPr>
          <a:xfrm>
            <a:off x="5260668" y="3991137"/>
            <a:ext cx="3554010" cy="2121489"/>
          </a:xfrm>
          <a:prstGeom prst="rect">
            <a:avLst/>
          </a:prstGeom>
          <a:solidFill>
            <a:srgbClr val="00A499"/>
          </a:solidFill>
          <a:ln>
            <a:solidFill>
              <a:srgbClr val="00A499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GB" sz="1000" b="1">
                <a:solidFill>
                  <a:schemeClr val="dk1"/>
                </a:solidFill>
                <a:cs typeface="Arial"/>
              </a:rPr>
              <a:t> </a:t>
            </a:r>
            <a:r>
              <a:rPr lang="en-GB" sz="1200" b="1">
                <a:solidFill>
                  <a:schemeClr val="dk1"/>
                </a:solidFill>
                <a:cs typeface="Arial"/>
              </a:rPr>
              <a:t>  </a:t>
            </a:r>
          </a:p>
          <a:p>
            <a:pPr algn="ctr"/>
            <a:r>
              <a:rPr lang="en-GB" sz="7000" b="1">
                <a:solidFill>
                  <a:schemeClr val="dk1"/>
                </a:solidFill>
                <a:cs typeface="Arial"/>
              </a:rPr>
              <a:t>200+</a:t>
            </a:r>
            <a:endParaRPr lang="en-GB">
              <a:solidFill>
                <a:schemeClr val="dk1"/>
              </a:solidFill>
            </a:endParaRPr>
          </a:p>
          <a:p>
            <a:pPr algn="ctr"/>
            <a:r>
              <a:rPr lang="en-GB" b="1">
                <a:solidFill>
                  <a:schemeClr val="dk1"/>
                </a:solidFill>
                <a:cs typeface="Arial"/>
              </a:rPr>
              <a:t>active &amp; completed resource cell </a:t>
            </a:r>
            <a:r>
              <a:rPr lang="en-GB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requests</a:t>
            </a:r>
            <a:r>
              <a:rPr lang="en-GB">
                <a:solidFill>
                  <a:schemeClr val="dk1"/>
                </a:solidFill>
                <a:latin typeface="Arial"/>
                <a:cs typeface="Arial"/>
                <a:sym typeface="Arial"/>
              </a:rPr>
              <a:t> provided by SME support</a:t>
            </a:r>
            <a:endParaRPr lang="en-GB">
              <a:solidFill>
                <a:schemeClr val="dk1"/>
              </a:solidFill>
              <a:latin typeface="Arial"/>
              <a:cs typeface="Arial"/>
            </a:endParaRPr>
          </a:p>
          <a:p>
            <a:pPr algn="ctr"/>
            <a:endParaRPr lang="en-GB" sz="2000" b="1">
              <a:solidFill>
                <a:schemeClr val="dk1"/>
              </a:solidFill>
              <a:cs typeface="Arial"/>
            </a:endParaRPr>
          </a:p>
        </p:txBody>
      </p:sp>
      <p:sp>
        <p:nvSpPr>
          <p:cNvPr id="15" name="Google Shape;1530;g2e2e69b1e76_1_520">
            <a:extLst>
              <a:ext uri="{FF2B5EF4-FFF2-40B4-BE49-F238E27FC236}">
                <a16:creationId xmlns:a16="http://schemas.microsoft.com/office/drawing/2014/main" id="{B0857901-AF07-D80E-2C29-C711A6D6CB20}"/>
              </a:ext>
            </a:extLst>
          </p:cNvPr>
          <p:cNvSpPr/>
          <p:nvPr/>
        </p:nvSpPr>
        <p:spPr>
          <a:xfrm>
            <a:off x="8027933" y="1788131"/>
            <a:ext cx="1989904" cy="2121491"/>
          </a:xfrm>
          <a:prstGeom prst="rect">
            <a:avLst/>
          </a:prstGeom>
          <a:solidFill>
            <a:srgbClr val="8BD2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70+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Events &amp; Masterclasses</a:t>
            </a:r>
            <a:r>
              <a:rPr lang="en-GB">
                <a:solidFill>
                  <a:schemeClr val="dk1"/>
                </a:solidFill>
                <a:latin typeface="Arial"/>
                <a:cs typeface="Arial"/>
                <a:sym typeface="Arial"/>
              </a:rPr>
              <a:t> delivered</a:t>
            </a:r>
            <a:endParaRPr lang="en-GB">
              <a:solidFill>
                <a:schemeClr val="dk1"/>
              </a:solidFill>
            </a:endParaRPr>
          </a:p>
        </p:txBody>
      </p:sp>
      <p:sp>
        <p:nvSpPr>
          <p:cNvPr id="16" name="Google Shape;1530;g2e2e69b1e76_1_520">
            <a:extLst>
              <a:ext uri="{FF2B5EF4-FFF2-40B4-BE49-F238E27FC236}">
                <a16:creationId xmlns:a16="http://schemas.microsoft.com/office/drawing/2014/main" id="{2243DA07-9CBC-139C-9083-D69FA000F23D}"/>
              </a:ext>
            </a:extLst>
          </p:cNvPr>
          <p:cNvSpPr/>
          <p:nvPr/>
        </p:nvSpPr>
        <p:spPr>
          <a:xfrm>
            <a:off x="10140143" y="1786424"/>
            <a:ext cx="1804106" cy="2123325"/>
          </a:xfrm>
          <a:prstGeom prst="rect">
            <a:avLst/>
          </a:prstGeom>
          <a:solidFill>
            <a:srgbClr val="5DC2D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22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Peer Networks</a:t>
            </a:r>
            <a:endParaRPr lang="en-GB">
              <a:solidFill>
                <a:schemeClr val="dk1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GB">
                <a:solidFill>
                  <a:schemeClr val="dk1"/>
                </a:solidFill>
                <a:latin typeface="Arial"/>
                <a:cs typeface="Arial"/>
                <a:sym typeface="Arial"/>
              </a:rPr>
              <a:t>sessions held</a:t>
            </a:r>
            <a:endParaRPr lang="en-GB">
              <a:solidFill>
                <a:schemeClr val="dk1"/>
              </a:solidFill>
              <a:cs typeface="Arial"/>
            </a:endParaRPr>
          </a:p>
        </p:txBody>
      </p:sp>
      <p:sp>
        <p:nvSpPr>
          <p:cNvPr id="17" name="Google Shape;1530;g2e2e69b1e76_1_520">
            <a:extLst>
              <a:ext uri="{FF2B5EF4-FFF2-40B4-BE49-F238E27FC236}">
                <a16:creationId xmlns:a16="http://schemas.microsoft.com/office/drawing/2014/main" id="{ED0E67BF-613B-D9E8-3FAD-9AD44A05CB89}"/>
              </a:ext>
            </a:extLst>
          </p:cNvPr>
          <p:cNvSpPr/>
          <p:nvPr/>
        </p:nvSpPr>
        <p:spPr>
          <a:xfrm>
            <a:off x="94446" y="4208161"/>
            <a:ext cx="2467018" cy="1898376"/>
          </a:xfrm>
          <a:prstGeom prst="rect">
            <a:avLst/>
          </a:prstGeom>
          <a:solidFill>
            <a:srgbClr val="8BD2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0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160+</a:t>
            </a:r>
            <a:endParaRPr lang="en-GB" sz="7000" b="1">
              <a:solidFill>
                <a:schemeClr val="dk1"/>
              </a:solidFill>
              <a:cs typeface="Arial"/>
            </a:endParaRPr>
          </a:p>
          <a:p>
            <a:pPr algn="ctr"/>
            <a:r>
              <a:rPr lang="en-GB" b="1">
                <a:solidFill>
                  <a:schemeClr val="dk1"/>
                </a:solidFill>
                <a:latin typeface="Arial"/>
                <a:cs typeface="Arial"/>
                <a:sym typeface="Arial"/>
              </a:rPr>
              <a:t>different Trusts engaged </a:t>
            </a:r>
            <a:r>
              <a:rPr lang="en-GB">
                <a:solidFill>
                  <a:schemeClr val="dk1"/>
                </a:solidFill>
                <a:latin typeface="Arial"/>
                <a:cs typeface="Arial"/>
                <a:sym typeface="Arial"/>
              </a:rPr>
              <a:t>with the FDSO</a:t>
            </a:r>
            <a:endParaRPr lang="en-GB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99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4" name="Google Shape;2874;p23"/>
          <p:cNvSpPr txBox="1">
            <a:spLocks noGrp="1"/>
          </p:cNvSpPr>
          <p:nvPr>
            <p:ph type="title"/>
          </p:nvPr>
        </p:nvSpPr>
        <p:spPr>
          <a:xfrm>
            <a:off x="432000" y="593925"/>
            <a:ext cx="11404154" cy="865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r>
              <a:rPr lang="en-GB"/>
              <a:t>Key Takeaways</a:t>
            </a:r>
            <a:endParaRPr lang="en-US"/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</a:pPr>
            <a:endParaRPr/>
          </a:p>
        </p:txBody>
      </p:sp>
      <p:grpSp>
        <p:nvGrpSpPr>
          <p:cNvPr id="2875" name="Google Shape;2875;p23"/>
          <p:cNvGrpSpPr/>
          <p:nvPr/>
        </p:nvGrpSpPr>
        <p:grpSpPr>
          <a:xfrm>
            <a:off x="1597646" y="1867105"/>
            <a:ext cx="9134344" cy="686505"/>
            <a:chOff x="1606906" y="1612683"/>
            <a:chExt cx="9115631" cy="779039"/>
          </a:xfrm>
        </p:grpSpPr>
        <p:sp>
          <p:nvSpPr>
            <p:cNvPr id="2876" name="Google Shape;2876;p23"/>
            <p:cNvSpPr/>
            <p:nvPr/>
          </p:nvSpPr>
          <p:spPr>
            <a:xfrm rot="5400000">
              <a:off x="2041816" y="1251314"/>
              <a:ext cx="659186" cy="151081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77" name="Google Shape;2877;p23"/>
            <p:cNvSpPr/>
            <p:nvPr/>
          </p:nvSpPr>
          <p:spPr>
            <a:xfrm>
              <a:off x="1606906" y="1626395"/>
              <a:ext cx="1272263" cy="7606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25" rIns="121900" bIns="609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3600" b="1">
                  <a:solidFill>
                    <a:srgbClr val="00A499"/>
                  </a:solidFill>
                  <a:latin typeface="Arial"/>
                  <a:ea typeface="Arial"/>
                  <a:cs typeface="Arial"/>
                  <a:sym typeface="Arial"/>
                </a:rPr>
                <a:t>01</a:t>
              </a:r>
              <a:endParaRPr sz="5400">
                <a:solidFill>
                  <a:srgbClr val="00A49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78" name="Google Shape;2878;p23"/>
            <p:cNvSpPr/>
            <p:nvPr/>
          </p:nvSpPr>
          <p:spPr>
            <a:xfrm rot="-5400000">
              <a:off x="6187002" y="-2083634"/>
              <a:ext cx="779039" cy="8171674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rgbClr val="00A499"/>
            </a:solidFill>
            <a:ln w="9525" cap="flat" cmpd="sng">
              <a:solidFill>
                <a:srgbClr val="00A49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79" name="Google Shape;2879;p23"/>
            <p:cNvSpPr txBox="1"/>
            <p:nvPr/>
          </p:nvSpPr>
          <p:spPr>
            <a:xfrm>
              <a:off x="3228011" y="1658479"/>
              <a:ext cx="7494526" cy="6985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50" rIns="121900" bIns="60950" anchor="t" anchorCtr="0">
              <a:spAutoFit/>
            </a:bodyPr>
            <a:lstStyle/>
            <a:p>
              <a:r>
                <a:rPr lang="en-GB" sz="1600">
                  <a:solidFill>
                    <a:schemeClr val="dk1"/>
                  </a:solidFill>
                </a:rPr>
                <a:t>Make sure you sign up to the FDSO newsletter to keep up to date with the Support Offer </a:t>
              </a:r>
              <a:endParaRPr lang="en-GB" sz="1600">
                <a:solidFill>
                  <a:schemeClr val="dk1"/>
                </a:solidFill>
                <a:cs typeface="Arial"/>
              </a:endParaRPr>
            </a:p>
          </p:txBody>
        </p:sp>
      </p:grpSp>
      <p:grpSp>
        <p:nvGrpSpPr>
          <p:cNvPr id="2880" name="Google Shape;2880;p23"/>
          <p:cNvGrpSpPr/>
          <p:nvPr/>
        </p:nvGrpSpPr>
        <p:grpSpPr>
          <a:xfrm>
            <a:off x="1606936" y="2689313"/>
            <a:ext cx="9055452" cy="678387"/>
            <a:chOff x="1606906" y="2467186"/>
            <a:chExt cx="9055452" cy="779039"/>
          </a:xfrm>
        </p:grpSpPr>
        <p:sp>
          <p:nvSpPr>
            <p:cNvPr id="2881" name="Google Shape;2881;p23"/>
            <p:cNvSpPr/>
            <p:nvPr/>
          </p:nvSpPr>
          <p:spPr>
            <a:xfrm rot="5400000">
              <a:off x="2041816" y="2101300"/>
              <a:ext cx="659186" cy="151081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2" name="Google Shape;2882;p23"/>
            <p:cNvSpPr/>
            <p:nvPr/>
          </p:nvSpPr>
          <p:spPr>
            <a:xfrm>
              <a:off x="1606906" y="2474940"/>
              <a:ext cx="1272263" cy="7635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25" rIns="121900" bIns="609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3600" b="1">
                  <a:solidFill>
                    <a:srgbClr val="7D7D7D"/>
                  </a:solidFill>
                  <a:latin typeface="Arial"/>
                  <a:ea typeface="Arial"/>
                  <a:cs typeface="Arial"/>
                  <a:sym typeface="Arial"/>
                </a:rPr>
                <a:t>02</a:t>
              </a:r>
              <a:endParaRPr sz="3600"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3" name="Google Shape;2883;p23"/>
            <p:cNvSpPr/>
            <p:nvPr/>
          </p:nvSpPr>
          <p:spPr>
            <a:xfrm rot="-5400000">
              <a:off x="6187001" y="-1229131"/>
              <a:ext cx="779039" cy="8171674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rgbClr val="7D7D7D"/>
            </a:solidFill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4" name="Google Shape;2884;p23"/>
            <p:cNvSpPr txBox="1"/>
            <p:nvPr/>
          </p:nvSpPr>
          <p:spPr>
            <a:xfrm>
              <a:off x="3238879" y="2514497"/>
              <a:ext cx="7379100" cy="7068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50" rIns="121900" bIns="60950" anchor="t" anchorCtr="0">
              <a:spAutoFit/>
            </a:bodyPr>
            <a:lstStyle/>
            <a:p>
              <a:r>
                <a:rPr lang="en-GB" sz="1600">
                  <a:solidFill>
                    <a:schemeClr val="dk1"/>
                  </a:solidFill>
                </a:rPr>
                <a:t>Encourage your teams and EPR programme leads to attend Learning Labs, Peer Networks, Events and Masterclasses</a:t>
              </a:r>
              <a:endParaRPr lang="en-GB" sz="1600">
                <a:solidFill>
                  <a:schemeClr val="dk1"/>
                </a:solidFill>
                <a:cs typeface="Arial"/>
              </a:endParaRPr>
            </a:p>
          </p:txBody>
        </p:sp>
      </p:grpSp>
      <p:grpSp>
        <p:nvGrpSpPr>
          <p:cNvPr id="2885" name="Google Shape;2885;p23"/>
          <p:cNvGrpSpPr/>
          <p:nvPr/>
        </p:nvGrpSpPr>
        <p:grpSpPr>
          <a:xfrm>
            <a:off x="1606936" y="3519061"/>
            <a:ext cx="9098030" cy="678387"/>
            <a:chOff x="1606906" y="3321940"/>
            <a:chExt cx="9098030" cy="779039"/>
          </a:xfrm>
        </p:grpSpPr>
        <p:sp>
          <p:nvSpPr>
            <p:cNvPr id="2886" name="Google Shape;2886;p23"/>
            <p:cNvSpPr/>
            <p:nvPr/>
          </p:nvSpPr>
          <p:spPr>
            <a:xfrm rot="5400000">
              <a:off x="2041816" y="2956053"/>
              <a:ext cx="659186" cy="151081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7" name="Google Shape;2887;p23"/>
            <p:cNvSpPr/>
            <p:nvPr/>
          </p:nvSpPr>
          <p:spPr>
            <a:xfrm rot="-5400000">
              <a:off x="6187002" y="-374378"/>
              <a:ext cx="779039" cy="8171675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rgbClr val="3D85C6"/>
            </a:solidFill>
            <a:ln w="9525" cap="flat" cmpd="sng">
              <a:solidFill>
                <a:srgbClr val="5B9BD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8" name="Google Shape;2888;p23"/>
            <p:cNvSpPr/>
            <p:nvPr/>
          </p:nvSpPr>
          <p:spPr>
            <a:xfrm>
              <a:off x="1606906" y="3331071"/>
              <a:ext cx="1272263" cy="7607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25" rIns="121900" bIns="609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3600" b="1">
                  <a:solidFill>
                    <a:srgbClr val="3D85C6"/>
                  </a:solidFill>
                  <a:latin typeface="Arial"/>
                  <a:ea typeface="Arial"/>
                  <a:cs typeface="Arial"/>
                  <a:sym typeface="Arial"/>
                </a:rPr>
                <a:t>03</a:t>
              </a:r>
              <a:endParaRPr sz="3600">
                <a:solidFill>
                  <a:srgbClr val="3D85C6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9" name="Google Shape;2889;p23"/>
            <p:cNvSpPr txBox="1"/>
            <p:nvPr/>
          </p:nvSpPr>
          <p:spPr>
            <a:xfrm>
              <a:off x="3273036" y="3501423"/>
              <a:ext cx="7431900" cy="4241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50" rIns="121900" bIns="60950" anchor="t" anchorCtr="0">
              <a:spAutoFit/>
            </a:bodyPr>
            <a:lstStyle/>
            <a:p>
              <a:r>
                <a:rPr lang="en-GB" sz="1600">
                  <a:solidFill>
                    <a:schemeClr val="dk1"/>
                  </a:solidFill>
                  <a:cs typeface="Arial"/>
                </a:rPr>
                <a:t>We are always open to feedback; share your thoughts with us!</a:t>
              </a:r>
            </a:p>
          </p:txBody>
        </p:sp>
      </p:grpSp>
      <p:pic>
        <p:nvPicPr>
          <p:cNvPr id="2890" name="Google Shape;2890;p23" descr="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228456" y="4669222"/>
            <a:ext cx="1436482" cy="1392929"/>
          </a:xfrm>
          <a:prstGeom prst="rect">
            <a:avLst/>
          </a:prstGeom>
          <a:noFill/>
          <a:ln>
            <a:noFill/>
          </a:ln>
        </p:spPr>
      </p:pic>
      <p:sp>
        <p:nvSpPr>
          <p:cNvPr id="2891" name="Google Shape;2891;p23"/>
          <p:cNvSpPr txBox="1"/>
          <p:nvPr/>
        </p:nvSpPr>
        <p:spPr>
          <a:xfrm>
            <a:off x="1602675" y="4756663"/>
            <a:ext cx="8520996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i="0" u="sng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tact us</a:t>
            </a: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GB"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r>
              <a:rPr lang="en-GB" sz="2400" b="1" i="0" u="sng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gland.fdsupporthubteam@nhs.net</a:t>
            </a:r>
            <a:endParaRPr sz="2400" b="1" i="0" u="sng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r>
              <a:rPr lang="en-GB" sz="2400" b="1" i="0" u="sng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Join</a:t>
            </a:r>
            <a:r>
              <a:rPr lang="en-GB" sz="2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: </a:t>
            </a:r>
            <a:r>
              <a:rPr lang="en-GB" sz="2400" b="1" i="0" u="sng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PR </a:t>
            </a:r>
            <a:r>
              <a:rPr lang="en-GB" sz="2400" b="1" u="sng">
                <a:solidFill>
                  <a:schemeClr val="lt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 </a:t>
            </a:r>
            <a:r>
              <a:rPr lang="en-GB" sz="2400" b="1" u="sng">
                <a:solidFill>
                  <a:schemeClr val="lt1"/>
                </a:solidFill>
                <a:latin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ub</a:t>
            </a:r>
            <a:endParaRPr lang="en-GB" sz="2400">
              <a:solidFill>
                <a:schemeClr val="lt1"/>
              </a:solidFill>
              <a:latin typeface="Arial"/>
              <a:cs typeface="Arial"/>
              <a:sym typeface="Arial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GB" sz="2400" b="1">
                <a:solidFill>
                  <a:schemeClr val="lt1"/>
                </a:solidFill>
                <a:latin typeface="Arial"/>
                <a:cs typeface="Arial"/>
                <a:sym typeface="Arial"/>
              </a:rPr>
              <a:t>Scan</a:t>
            </a:r>
            <a:r>
              <a:rPr lang="en-GB" sz="2400" b="1">
                <a:solidFill>
                  <a:schemeClr val="lt1"/>
                </a:solidFill>
                <a:latin typeface="Arial"/>
                <a:ea typeface="Arial"/>
                <a:cs typeface="Arial"/>
              </a:rPr>
              <a:t> the QR code - to access the EPR Support Hub</a:t>
            </a:r>
            <a:endParaRPr lang="en-GB" sz="2400">
              <a:solidFill>
                <a:schemeClr val="lt1"/>
              </a:solidFill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459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HSD-PPT-Template-Refresh_NOV2020-B" id="{06B772CD-B1AE-2743-BE7F-0BA8B46714EA}" vid="{16F65E12-3586-BC44-90B1-43C17D38503A}"/>
    </a:ext>
  </a:extLst>
</a:theme>
</file>

<file path=ppt/theme/theme2.xml><?xml version="1.0" encoding="utf-8"?>
<a:theme xmlns:a="http://schemas.openxmlformats.org/drawingml/2006/main" name="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32358C74A89A419650AD017E1FAC40" ma:contentTypeVersion="21" ma:contentTypeDescription="Create a new document." ma:contentTypeScope="" ma:versionID="dd6c4204f5074b5410a9afb8b5a8e5b9">
  <xsd:schema xmlns:xsd="http://www.w3.org/2001/XMLSchema" xmlns:xs="http://www.w3.org/2001/XMLSchema" xmlns:p="http://schemas.microsoft.com/office/2006/metadata/properties" xmlns:ns1="http://schemas.microsoft.com/sharepoint/v3" xmlns:ns2="e37e8048-7f47-46c3-9f5d-bf2bf54c9279" xmlns:ns3="812061dd-523a-47bf-9db5-a71fd49c94a4" targetNamespace="http://schemas.microsoft.com/office/2006/metadata/properties" ma:root="true" ma:fieldsID="d891b9df4695bf4b034ff6e5d348055e" ns1:_="" ns2:_="" ns3:_="">
    <xsd:import namespace="http://schemas.microsoft.com/sharepoint/v3"/>
    <xsd:import namespace="e37e8048-7f47-46c3-9f5d-bf2bf54c9279"/>
    <xsd:import namespace="812061dd-523a-47bf-9db5-a71fd49c94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Pictur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e8048-7f47-46c3-9f5d-bf2bf54c92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Picture" ma:index="21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e36c5f2-2d8c-4cc3-a61b-4b56d022d3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061dd-523a-47bf-9db5-a71fd49c94a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98d9916-7899-4a6c-b68a-d60d75cd35ea}" ma:internalName="TaxCatchAll" ma:showField="CatchAllData" ma:web="812061dd-523a-47bf-9db5-a71fd49c94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2061dd-523a-47bf-9db5-a71fd49c94a4" xsi:nil="true"/>
    <_ip_UnifiedCompliancePolicyProperties xmlns="http://schemas.microsoft.com/sharepoint/v3" xsi:nil="true"/>
    <_ip_UnifiedCompliancePolicyUIAction xmlns="http://schemas.microsoft.com/sharepoint/v3" xsi:nil="true"/>
    <lcf76f155ced4ddcb4097134ff3c332f xmlns="e37e8048-7f47-46c3-9f5d-bf2bf54c9279">
      <Terms xmlns="http://schemas.microsoft.com/office/infopath/2007/PartnerControls"/>
    </lcf76f155ced4ddcb4097134ff3c332f>
    <Picture xmlns="e37e8048-7f47-46c3-9f5d-bf2bf54c9279">
      <Url xsi:nil="true"/>
      <Description xsi:nil="true"/>
    </Picture>
  </documentManagement>
</p:properties>
</file>

<file path=customXml/itemProps1.xml><?xml version="1.0" encoding="utf-8"?>
<ds:datastoreItem xmlns:ds="http://schemas.openxmlformats.org/officeDocument/2006/customXml" ds:itemID="{0B885BC2-050E-4744-BB05-5E4B6183DB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867290-A304-4593-932F-41804733B90C}"/>
</file>

<file path=customXml/itemProps3.xml><?xml version="1.0" encoding="utf-8"?>
<ds:datastoreItem xmlns:ds="http://schemas.openxmlformats.org/officeDocument/2006/customXml" ds:itemID="{CB4395C4-7D01-44A5-8581-DB210DDC6346}">
  <ds:schemaRefs>
    <ds:schemaRef ds:uri="21e183e1-e8a0-48fd-b409-d80409802abf"/>
    <ds:schemaRef ds:uri="265dfb9a-3e5f-41f3-8168-bb8410f9d6a4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0</Slides>
  <Notes>8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1_NHSD-Refresh-Theme-NOV1120B</vt:lpstr>
      <vt:lpstr>NHSD-Refresh-Theme-NOV1120B</vt:lpstr>
      <vt:lpstr>1_NHSD-Refresh-Theme-NOV1120B</vt:lpstr>
      <vt:lpstr>NHSD-Refresh-Theme-NOV1120B</vt:lpstr>
      <vt:lpstr>NHSD-Refresh-Theme-NOV1120B</vt:lpstr>
      <vt:lpstr>NHSD-Refresh-Theme-NOV1120B</vt:lpstr>
      <vt:lpstr>Frontline Digitisation Support Offer  </vt:lpstr>
      <vt:lpstr>PowerPoint Presentation</vt:lpstr>
      <vt:lpstr>PowerPoint Presentation</vt:lpstr>
      <vt:lpstr>Service Catalogue</vt:lpstr>
      <vt:lpstr>PowerPoint Presentation</vt:lpstr>
      <vt:lpstr>The  Challenges</vt:lpstr>
      <vt:lpstr>How we are working together as one team...</vt:lpstr>
      <vt:lpstr>PowerPoint Presentation</vt:lpstr>
      <vt:lpstr>Key Takeaway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75</cp:revision>
  <dcterms:created xsi:type="dcterms:W3CDTF">2024-06-04T08:44:08Z</dcterms:created>
  <dcterms:modified xsi:type="dcterms:W3CDTF">2024-07-09T09:3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32358C74A89A419650AD017E1FAC40</vt:lpwstr>
  </property>
  <property fmtid="{D5CDD505-2E9C-101B-9397-08002B2CF9AE}" pid="3" name="MediaServiceImageTags">
    <vt:lpwstr/>
  </property>
</Properties>
</file>